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1" r:id="rId5"/>
  </p:sldMasterIdLst>
  <p:notesMasterIdLst>
    <p:notesMasterId r:id="rId31"/>
  </p:notesMasterIdLst>
  <p:handoutMasterIdLst>
    <p:handoutMasterId r:id="rId32"/>
  </p:handoutMasterIdLst>
  <p:sldIdLst>
    <p:sldId id="285" r:id="rId6"/>
    <p:sldId id="398" r:id="rId7"/>
    <p:sldId id="412" r:id="rId8"/>
    <p:sldId id="404" r:id="rId9"/>
    <p:sldId id="413" r:id="rId10"/>
    <p:sldId id="420" r:id="rId11"/>
    <p:sldId id="424" r:id="rId12"/>
    <p:sldId id="379" r:id="rId13"/>
    <p:sldId id="411" r:id="rId14"/>
    <p:sldId id="380" r:id="rId15"/>
    <p:sldId id="414" r:id="rId16"/>
    <p:sldId id="418" r:id="rId17"/>
    <p:sldId id="415" r:id="rId18"/>
    <p:sldId id="382" r:id="rId19"/>
    <p:sldId id="383" r:id="rId20"/>
    <p:sldId id="394" r:id="rId21"/>
    <p:sldId id="422" r:id="rId22"/>
    <p:sldId id="385" r:id="rId23"/>
    <p:sldId id="419" r:id="rId24"/>
    <p:sldId id="417" r:id="rId25"/>
    <p:sldId id="423" r:id="rId26"/>
    <p:sldId id="402" r:id="rId27"/>
    <p:sldId id="410" r:id="rId28"/>
    <p:sldId id="388" r:id="rId29"/>
    <p:sldId id="389" r:id="rId30"/>
  </p:sldIdLst>
  <p:sldSz cx="9144000" cy="6858000" type="screen4x3"/>
  <p:notesSz cx="6858000" cy="9144000"/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8207"/>
    <a:srgbClr val="E7ECF0"/>
    <a:srgbClr val="869FB5"/>
    <a:srgbClr val="45688B"/>
    <a:srgbClr val="005DAB"/>
    <a:srgbClr val="2E465E"/>
    <a:srgbClr val="ACBFD0"/>
    <a:srgbClr val="F8981C"/>
    <a:srgbClr val="934E15"/>
    <a:srgbClr val="D77E0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BDC1D71-CE94-45DD-89C8-CE2DF7BED357}" v="38" dt="2025-03-19T18:34:59.0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789" autoAdjust="0"/>
    <p:restoredTop sz="94638" autoAdjust="0"/>
  </p:normalViewPr>
  <p:slideViewPr>
    <p:cSldViewPr snapToGrid="0" snapToObjects="1">
      <p:cViewPr varScale="1">
        <p:scale>
          <a:sx n="133" d="100"/>
          <a:sy n="133" d="100"/>
        </p:scale>
        <p:origin x="97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2994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microsoft.com/office/2015/10/relationships/revisionInfo" Target="revisionInfo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gs" Target="tags/tag1.xml"/><Relationship Id="rId38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oertz, Benjamin" userId="7bbcdc09-a17a-459e-9ed5-6cf1c589f103" providerId="ADAL" clId="{FBDC1D71-CE94-45DD-89C8-CE2DF7BED357}"/>
    <pc:docChg chg="undo redo custSel addSld delSld modSld sldOrd">
      <pc:chgData name="Goertz, Benjamin" userId="7bbcdc09-a17a-459e-9ed5-6cf1c589f103" providerId="ADAL" clId="{FBDC1D71-CE94-45DD-89C8-CE2DF7BED357}" dt="2025-03-19T17:29:50.239" v="4526" actId="20577"/>
      <pc:docMkLst>
        <pc:docMk/>
      </pc:docMkLst>
      <pc:sldChg chg="modSp mod">
        <pc:chgData name="Goertz, Benjamin" userId="7bbcdc09-a17a-459e-9ed5-6cf1c589f103" providerId="ADAL" clId="{FBDC1D71-CE94-45DD-89C8-CE2DF7BED357}" dt="2025-03-13T15:23:36.519" v="22" actId="20577"/>
        <pc:sldMkLst>
          <pc:docMk/>
          <pc:sldMk cId="2617501420" sldId="285"/>
        </pc:sldMkLst>
        <pc:spChg chg="mod">
          <ac:chgData name="Goertz, Benjamin" userId="7bbcdc09-a17a-459e-9ed5-6cf1c589f103" providerId="ADAL" clId="{FBDC1D71-CE94-45DD-89C8-CE2DF7BED357}" dt="2025-03-13T15:23:19.432" v="12" actId="20577"/>
          <ac:spMkLst>
            <pc:docMk/>
            <pc:sldMk cId="2617501420" sldId="285"/>
            <ac:spMk id="2" creationId="{30F62D0F-4856-B62B-7439-10D0D1F4AF38}"/>
          </ac:spMkLst>
        </pc:spChg>
        <pc:spChg chg="mod">
          <ac:chgData name="Goertz, Benjamin" userId="7bbcdc09-a17a-459e-9ed5-6cf1c589f103" providerId="ADAL" clId="{FBDC1D71-CE94-45DD-89C8-CE2DF7BED357}" dt="2025-03-13T15:23:36.519" v="22" actId="20577"/>
          <ac:spMkLst>
            <pc:docMk/>
            <pc:sldMk cId="2617501420" sldId="285"/>
            <ac:spMk id="3" creationId="{7F8EF732-D959-ECB3-00B1-C75B74F6A1F7}"/>
          </ac:spMkLst>
        </pc:spChg>
      </pc:sldChg>
      <pc:sldChg chg="modSp del mod">
        <pc:chgData name="Goertz, Benjamin" userId="7bbcdc09-a17a-459e-9ed5-6cf1c589f103" providerId="ADAL" clId="{FBDC1D71-CE94-45DD-89C8-CE2DF7BED357}" dt="2025-03-13T15:31:10.252" v="108" actId="47"/>
        <pc:sldMkLst>
          <pc:docMk/>
          <pc:sldMk cId="1067243519" sldId="332"/>
        </pc:sldMkLst>
      </pc:sldChg>
      <pc:sldChg chg="del">
        <pc:chgData name="Goertz, Benjamin" userId="7bbcdc09-a17a-459e-9ed5-6cf1c589f103" providerId="ADAL" clId="{FBDC1D71-CE94-45DD-89C8-CE2DF7BED357}" dt="2025-03-13T15:24:05.465" v="35" actId="47"/>
        <pc:sldMkLst>
          <pc:docMk/>
          <pc:sldMk cId="2168110275" sldId="333"/>
        </pc:sldMkLst>
      </pc:sldChg>
      <pc:sldChg chg="addSp delSp modSp mod modClrScheme chgLayout">
        <pc:chgData name="Goertz, Benjamin" userId="7bbcdc09-a17a-459e-9ed5-6cf1c589f103" providerId="ADAL" clId="{FBDC1D71-CE94-45DD-89C8-CE2DF7BED357}" dt="2025-03-13T15:26:55.596" v="69" actId="14100"/>
        <pc:sldMkLst>
          <pc:docMk/>
          <pc:sldMk cId="3010647946" sldId="379"/>
        </pc:sldMkLst>
        <pc:spChg chg="mod">
          <ac:chgData name="Goertz, Benjamin" userId="7bbcdc09-a17a-459e-9ed5-6cf1c589f103" providerId="ADAL" clId="{FBDC1D71-CE94-45DD-89C8-CE2DF7BED357}" dt="2025-03-13T15:26:51.871" v="68" actId="26606"/>
          <ac:spMkLst>
            <pc:docMk/>
            <pc:sldMk cId="3010647946" sldId="379"/>
            <ac:spMk id="2" creationId="{19EA1A98-865C-E2CD-EBE5-19060F72252E}"/>
          </ac:spMkLst>
        </pc:spChg>
        <pc:spChg chg="add del">
          <ac:chgData name="Goertz, Benjamin" userId="7bbcdc09-a17a-459e-9ed5-6cf1c589f103" providerId="ADAL" clId="{FBDC1D71-CE94-45DD-89C8-CE2DF7BED357}" dt="2025-03-13T15:26:51.871" v="68" actId="26606"/>
          <ac:spMkLst>
            <pc:docMk/>
            <pc:sldMk cId="3010647946" sldId="379"/>
            <ac:spMk id="6" creationId="{E9C1F079-8789-F0DE-8DE4-5FD88EF7664E}"/>
          </ac:spMkLst>
        </pc:spChg>
        <pc:picChg chg="add mod">
          <ac:chgData name="Goertz, Benjamin" userId="7bbcdc09-a17a-459e-9ed5-6cf1c589f103" providerId="ADAL" clId="{FBDC1D71-CE94-45DD-89C8-CE2DF7BED357}" dt="2025-03-13T15:26:55.596" v="69" actId="14100"/>
          <ac:picMkLst>
            <pc:docMk/>
            <pc:sldMk cId="3010647946" sldId="379"/>
            <ac:picMk id="3" creationId="{C5D2D4BF-04A0-344B-F90E-5881F4502D73}"/>
          </ac:picMkLst>
        </pc:picChg>
      </pc:sldChg>
      <pc:sldChg chg="addSp delSp modSp mod">
        <pc:chgData name="Goertz, Benjamin" userId="7bbcdc09-a17a-459e-9ed5-6cf1c589f103" providerId="ADAL" clId="{FBDC1D71-CE94-45DD-89C8-CE2DF7BED357}" dt="2025-03-13T15:27:22.482" v="74" actId="14100"/>
        <pc:sldMkLst>
          <pc:docMk/>
          <pc:sldMk cId="2925639666" sldId="380"/>
        </pc:sldMkLst>
        <pc:picChg chg="add mod">
          <ac:chgData name="Goertz, Benjamin" userId="7bbcdc09-a17a-459e-9ed5-6cf1c589f103" providerId="ADAL" clId="{FBDC1D71-CE94-45DD-89C8-CE2DF7BED357}" dt="2025-03-13T15:27:22.482" v="74" actId="14100"/>
          <ac:picMkLst>
            <pc:docMk/>
            <pc:sldMk cId="2925639666" sldId="380"/>
            <ac:picMk id="4" creationId="{A064508F-A9F9-2177-3C06-55F7DDE64237}"/>
          </ac:picMkLst>
        </pc:picChg>
      </pc:sldChg>
      <pc:sldChg chg="del">
        <pc:chgData name="Goertz, Benjamin" userId="7bbcdc09-a17a-459e-9ed5-6cf1c589f103" providerId="ADAL" clId="{FBDC1D71-CE94-45DD-89C8-CE2DF7BED357}" dt="2025-03-13T15:35:57.306" v="136" actId="47"/>
        <pc:sldMkLst>
          <pc:docMk/>
          <pc:sldMk cId="252062422" sldId="381"/>
        </pc:sldMkLst>
      </pc:sldChg>
      <pc:sldChg chg="addSp delSp modSp mod">
        <pc:chgData name="Goertz, Benjamin" userId="7bbcdc09-a17a-459e-9ed5-6cf1c589f103" providerId="ADAL" clId="{FBDC1D71-CE94-45DD-89C8-CE2DF7BED357}" dt="2025-03-13T15:43:43.199" v="288" actId="1076"/>
        <pc:sldMkLst>
          <pc:docMk/>
          <pc:sldMk cId="964538404" sldId="382"/>
        </pc:sldMkLst>
        <pc:picChg chg="add mod">
          <ac:chgData name="Goertz, Benjamin" userId="7bbcdc09-a17a-459e-9ed5-6cf1c589f103" providerId="ADAL" clId="{FBDC1D71-CE94-45DD-89C8-CE2DF7BED357}" dt="2025-03-13T15:43:43.199" v="288" actId="1076"/>
          <ac:picMkLst>
            <pc:docMk/>
            <pc:sldMk cId="964538404" sldId="382"/>
            <ac:picMk id="9" creationId="{D07A69C6-73E7-EF9B-E7C2-C0503DB0554C}"/>
          </ac:picMkLst>
        </pc:picChg>
      </pc:sldChg>
      <pc:sldChg chg="addSp delSp modSp mod">
        <pc:chgData name="Goertz, Benjamin" userId="7bbcdc09-a17a-459e-9ed5-6cf1c589f103" providerId="ADAL" clId="{FBDC1D71-CE94-45DD-89C8-CE2DF7BED357}" dt="2025-03-13T15:52:45.173" v="319" actId="14100"/>
        <pc:sldMkLst>
          <pc:docMk/>
          <pc:sldMk cId="4080278820" sldId="383"/>
        </pc:sldMkLst>
        <pc:picChg chg="add mod modCrop">
          <ac:chgData name="Goertz, Benjamin" userId="7bbcdc09-a17a-459e-9ed5-6cf1c589f103" providerId="ADAL" clId="{FBDC1D71-CE94-45DD-89C8-CE2DF7BED357}" dt="2025-03-13T15:52:45.173" v="319" actId="14100"/>
          <ac:picMkLst>
            <pc:docMk/>
            <pc:sldMk cId="4080278820" sldId="383"/>
            <ac:picMk id="7" creationId="{561042A4-D16C-837C-0586-25CDEDB20248}"/>
          </ac:picMkLst>
        </pc:picChg>
        <pc:picChg chg="add mod modCrop">
          <ac:chgData name="Goertz, Benjamin" userId="7bbcdc09-a17a-459e-9ed5-6cf1c589f103" providerId="ADAL" clId="{FBDC1D71-CE94-45DD-89C8-CE2DF7BED357}" dt="2025-03-13T15:52:45.173" v="319" actId="14100"/>
          <ac:picMkLst>
            <pc:docMk/>
            <pc:sldMk cId="4080278820" sldId="383"/>
            <ac:picMk id="8" creationId="{2F504F23-3F6D-8FC5-A54F-CCAB4D9C9936}"/>
          </ac:picMkLst>
        </pc:picChg>
        <pc:picChg chg="add mod modCrop">
          <ac:chgData name="Goertz, Benjamin" userId="7bbcdc09-a17a-459e-9ed5-6cf1c589f103" providerId="ADAL" clId="{FBDC1D71-CE94-45DD-89C8-CE2DF7BED357}" dt="2025-03-13T15:52:29.913" v="317" actId="14100"/>
          <ac:picMkLst>
            <pc:docMk/>
            <pc:sldMk cId="4080278820" sldId="383"/>
            <ac:picMk id="9" creationId="{F0302003-0072-01F6-29DB-3D3FBC41DC1E}"/>
          </ac:picMkLst>
        </pc:picChg>
        <pc:picChg chg="add mod modCrop">
          <ac:chgData name="Goertz, Benjamin" userId="7bbcdc09-a17a-459e-9ed5-6cf1c589f103" providerId="ADAL" clId="{FBDC1D71-CE94-45DD-89C8-CE2DF7BED357}" dt="2025-03-13T15:52:31.640" v="318" actId="1076"/>
          <ac:picMkLst>
            <pc:docMk/>
            <pc:sldMk cId="4080278820" sldId="383"/>
            <ac:picMk id="10" creationId="{A874FCBF-1233-D078-0F0A-C17421C722FD}"/>
          </ac:picMkLst>
        </pc:picChg>
      </pc:sldChg>
      <pc:sldChg chg="del">
        <pc:chgData name="Goertz, Benjamin" userId="7bbcdc09-a17a-459e-9ed5-6cf1c589f103" providerId="ADAL" clId="{FBDC1D71-CE94-45DD-89C8-CE2DF7BED357}" dt="2025-03-13T15:31:13.804" v="109" actId="47"/>
        <pc:sldMkLst>
          <pc:docMk/>
          <pc:sldMk cId="753657486" sldId="384"/>
        </pc:sldMkLst>
      </pc:sldChg>
      <pc:sldChg chg="modSp mod">
        <pc:chgData name="Goertz, Benjamin" userId="7bbcdc09-a17a-459e-9ed5-6cf1c589f103" providerId="ADAL" clId="{FBDC1D71-CE94-45DD-89C8-CE2DF7BED357}" dt="2025-03-19T15:55:37.911" v="3735" actId="20577"/>
        <pc:sldMkLst>
          <pc:docMk/>
          <pc:sldMk cId="2742329154" sldId="385"/>
        </pc:sldMkLst>
        <pc:spChg chg="mod">
          <ac:chgData name="Goertz, Benjamin" userId="7bbcdc09-a17a-459e-9ed5-6cf1c589f103" providerId="ADAL" clId="{FBDC1D71-CE94-45DD-89C8-CE2DF7BED357}" dt="2025-03-19T15:55:32.021" v="3730" actId="20577"/>
          <ac:spMkLst>
            <pc:docMk/>
            <pc:sldMk cId="2742329154" sldId="385"/>
            <ac:spMk id="2" creationId="{55B469F5-E002-2CC3-9FBD-29C48B21FFB3}"/>
          </ac:spMkLst>
        </pc:spChg>
        <pc:spChg chg="mod">
          <ac:chgData name="Goertz, Benjamin" userId="7bbcdc09-a17a-459e-9ed5-6cf1c589f103" providerId="ADAL" clId="{FBDC1D71-CE94-45DD-89C8-CE2DF7BED357}" dt="2025-03-19T15:55:37.911" v="3735" actId="20577"/>
          <ac:spMkLst>
            <pc:docMk/>
            <pc:sldMk cId="2742329154" sldId="385"/>
            <ac:spMk id="3" creationId="{2B4744C7-1653-5F58-4FEB-04C6B62B7ED1}"/>
          </ac:spMkLst>
        </pc:spChg>
      </pc:sldChg>
      <pc:sldChg chg="modSp mod">
        <pc:chgData name="Goertz, Benjamin" userId="7bbcdc09-a17a-459e-9ed5-6cf1c589f103" providerId="ADAL" clId="{FBDC1D71-CE94-45DD-89C8-CE2DF7BED357}" dt="2025-03-13T17:30:15.911" v="346" actId="20577"/>
        <pc:sldMkLst>
          <pc:docMk/>
          <pc:sldMk cId="355468932" sldId="389"/>
        </pc:sldMkLst>
        <pc:spChg chg="mod">
          <ac:chgData name="Goertz, Benjamin" userId="7bbcdc09-a17a-459e-9ed5-6cf1c589f103" providerId="ADAL" clId="{FBDC1D71-CE94-45DD-89C8-CE2DF7BED357}" dt="2025-03-13T17:30:15.911" v="346" actId="20577"/>
          <ac:spMkLst>
            <pc:docMk/>
            <pc:sldMk cId="355468932" sldId="389"/>
            <ac:spMk id="2" creationId="{3C2356A1-11D8-103E-69B5-EEB735A8DE52}"/>
          </ac:spMkLst>
        </pc:spChg>
      </pc:sldChg>
      <pc:sldChg chg="del">
        <pc:chgData name="Goertz, Benjamin" userId="7bbcdc09-a17a-459e-9ed5-6cf1c589f103" providerId="ADAL" clId="{FBDC1D71-CE94-45DD-89C8-CE2DF7BED357}" dt="2025-03-13T15:27:04.653" v="70" actId="47"/>
        <pc:sldMkLst>
          <pc:docMk/>
          <pc:sldMk cId="2308888488" sldId="390"/>
        </pc:sldMkLst>
      </pc:sldChg>
      <pc:sldChg chg="del">
        <pc:chgData name="Goertz, Benjamin" userId="7bbcdc09-a17a-459e-9ed5-6cf1c589f103" providerId="ADAL" clId="{FBDC1D71-CE94-45DD-89C8-CE2DF7BED357}" dt="2025-03-13T15:36:07.515" v="138" actId="47"/>
        <pc:sldMkLst>
          <pc:docMk/>
          <pc:sldMk cId="3910752784" sldId="391"/>
        </pc:sldMkLst>
      </pc:sldChg>
      <pc:sldChg chg="del">
        <pc:chgData name="Goertz, Benjamin" userId="7bbcdc09-a17a-459e-9ed5-6cf1c589f103" providerId="ADAL" clId="{FBDC1D71-CE94-45DD-89C8-CE2DF7BED357}" dt="2025-03-13T15:36:03.305" v="137" actId="47"/>
        <pc:sldMkLst>
          <pc:docMk/>
          <pc:sldMk cId="2788759867" sldId="392"/>
        </pc:sldMkLst>
      </pc:sldChg>
      <pc:sldChg chg="delSp del mod">
        <pc:chgData name="Goertz, Benjamin" userId="7bbcdc09-a17a-459e-9ed5-6cf1c589f103" providerId="ADAL" clId="{FBDC1D71-CE94-45DD-89C8-CE2DF7BED357}" dt="2025-03-13T15:42:31.810" v="277" actId="47"/>
        <pc:sldMkLst>
          <pc:docMk/>
          <pc:sldMk cId="1614286583" sldId="393"/>
        </pc:sldMkLst>
      </pc:sldChg>
      <pc:sldChg chg="addSp delSp modSp mod chgLayout">
        <pc:chgData name="Goertz, Benjamin" userId="7bbcdc09-a17a-459e-9ed5-6cf1c589f103" providerId="ADAL" clId="{FBDC1D71-CE94-45DD-89C8-CE2DF7BED357}" dt="2025-03-19T13:43:57.557" v="1523" actId="255"/>
        <pc:sldMkLst>
          <pc:docMk/>
          <pc:sldMk cId="3638532360" sldId="394"/>
        </pc:sldMkLst>
        <pc:spChg chg="mod ord">
          <ac:chgData name="Goertz, Benjamin" userId="7bbcdc09-a17a-459e-9ed5-6cf1c589f103" providerId="ADAL" clId="{FBDC1D71-CE94-45DD-89C8-CE2DF7BED357}" dt="2025-03-19T13:37:49.674" v="1134" actId="700"/>
          <ac:spMkLst>
            <pc:docMk/>
            <pc:sldMk cId="3638532360" sldId="394"/>
            <ac:spMk id="2" creationId="{62775AD6-3705-F2B4-89CD-3C0788C08160}"/>
          </ac:spMkLst>
        </pc:spChg>
        <pc:spChg chg="add mod ord">
          <ac:chgData name="Goertz, Benjamin" userId="7bbcdc09-a17a-459e-9ed5-6cf1c589f103" providerId="ADAL" clId="{FBDC1D71-CE94-45DD-89C8-CE2DF7BED357}" dt="2025-03-19T13:43:57.557" v="1523" actId="255"/>
          <ac:spMkLst>
            <pc:docMk/>
            <pc:sldMk cId="3638532360" sldId="394"/>
            <ac:spMk id="4" creationId="{D816905D-CDB5-1BBD-3C7F-942443FCEA0C}"/>
          </ac:spMkLst>
        </pc:spChg>
        <pc:picChg chg="add del mod">
          <ac:chgData name="Goertz, Benjamin" userId="7bbcdc09-a17a-459e-9ed5-6cf1c589f103" providerId="ADAL" clId="{FBDC1D71-CE94-45DD-89C8-CE2DF7BED357}" dt="2025-03-19T13:40:17.777" v="1368" actId="478"/>
          <ac:picMkLst>
            <pc:docMk/>
            <pc:sldMk cId="3638532360" sldId="394"/>
            <ac:picMk id="3" creationId="{9BCD3015-541F-16D1-9FDC-ECF39DBC4E2C}"/>
          </ac:picMkLst>
        </pc:picChg>
      </pc:sldChg>
      <pc:sldChg chg="delSp modSp del mod">
        <pc:chgData name="Goertz, Benjamin" userId="7bbcdc09-a17a-459e-9ed5-6cf1c589f103" providerId="ADAL" clId="{FBDC1D71-CE94-45DD-89C8-CE2DF7BED357}" dt="2025-03-19T13:51:01.982" v="1607" actId="47"/>
        <pc:sldMkLst>
          <pc:docMk/>
          <pc:sldMk cId="2758087987" sldId="395"/>
        </pc:sldMkLst>
      </pc:sldChg>
      <pc:sldChg chg="del">
        <pc:chgData name="Goertz, Benjamin" userId="7bbcdc09-a17a-459e-9ed5-6cf1c589f103" providerId="ADAL" clId="{FBDC1D71-CE94-45DD-89C8-CE2DF7BED357}" dt="2025-03-13T15:24:29.176" v="63" actId="47"/>
        <pc:sldMkLst>
          <pc:docMk/>
          <pc:sldMk cId="981493207" sldId="397"/>
        </pc:sldMkLst>
      </pc:sldChg>
      <pc:sldChg chg="modSp mod">
        <pc:chgData name="Goertz, Benjamin" userId="7bbcdc09-a17a-459e-9ed5-6cf1c589f103" providerId="ADAL" clId="{FBDC1D71-CE94-45DD-89C8-CE2DF7BED357}" dt="2025-03-19T13:50:46.940" v="1606" actId="20577"/>
        <pc:sldMkLst>
          <pc:docMk/>
          <pc:sldMk cId="881565598" sldId="398"/>
        </pc:sldMkLst>
        <pc:spChg chg="mod">
          <ac:chgData name="Goertz, Benjamin" userId="7bbcdc09-a17a-459e-9ed5-6cf1c589f103" providerId="ADAL" clId="{FBDC1D71-CE94-45DD-89C8-CE2DF7BED357}" dt="2025-03-19T13:50:46.940" v="1606" actId="20577"/>
          <ac:spMkLst>
            <pc:docMk/>
            <pc:sldMk cId="881565598" sldId="398"/>
            <ac:spMk id="3" creationId="{FA06CC26-26E5-4441-3C94-D2ABCC016E4F}"/>
          </ac:spMkLst>
        </pc:spChg>
      </pc:sldChg>
      <pc:sldChg chg="del">
        <pc:chgData name="Goertz, Benjamin" userId="7bbcdc09-a17a-459e-9ed5-6cf1c589f103" providerId="ADAL" clId="{FBDC1D71-CE94-45DD-89C8-CE2DF7BED357}" dt="2025-03-13T17:30:21.566" v="347" actId="47"/>
        <pc:sldMkLst>
          <pc:docMk/>
          <pc:sldMk cId="3483568715" sldId="399"/>
        </pc:sldMkLst>
      </pc:sldChg>
      <pc:sldChg chg="del">
        <pc:chgData name="Goertz, Benjamin" userId="7bbcdc09-a17a-459e-9ed5-6cf1c589f103" providerId="ADAL" clId="{FBDC1D71-CE94-45DD-89C8-CE2DF7BED357}" dt="2025-03-13T15:23:47.954" v="24" actId="47"/>
        <pc:sldMkLst>
          <pc:docMk/>
          <pc:sldMk cId="237209714" sldId="400"/>
        </pc:sldMkLst>
      </pc:sldChg>
      <pc:sldChg chg="del">
        <pc:chgData name="Goertz, Benjamin" userId="7bbcdc09-a17a-459e-9ed5-6cf1c589f103" providerId="ADAL" clId="{FBDC1D71-CE94-45DD-89C8-CE2DF7BED357}" dt="2025-03-13T15:31:15.734" v="111" actId="47"/>
        <pc:sldMkLst>
          <pc:docMk/>
          <pc:sldMk cId="2859018442" sldId="401"/>
        </pc:sldMkLst>
      </pc:sldChg>
      <pc:sldChg chg="modSp mod">
        <pc:chgData name="Goertz, Benjamin" userId="7bbcdc09-a17a-459e-9ed5-6cf1c589f103" providerId="ADAL" clId="{FBDC1D71-CE94-45DD-89C8-CE2DF7BED357}" dt="2025-03-19T14:07:00.254" v="2115" actId="20577"/>
        <pc:sldMkLst>
          <pc:docMk/>
          <pc:sldMk cId="320831397" sldId="402"/>
        </pc:sldMkLst>
        <pc:spChg chg="mod">
          <ac:chgData name="Goertz, Benjamin" userId="7bbcdc09-a17a-459e-9ed5-6cf1c589f103" providerId="ADAL" clId="{FBDC1D71-CE94-45DD-89C8-CE2DF7BED357}" dt="2025-03-19T14:07:00.254" v="2115" actId="20577"/>
          <ac:spMkLst>
            <pc:docMk/>
            <pc:sldMk cId="320831397" sldId="402"/>
            <ac:spMk id="2" creationId="{F4D0364E-4105-95DC-A448-8EC8FB1CD815}"/>
          </ac:spMkLst>
        </pc:spChg>
      </pc:sldChg>
      <pc:sldChg chg="del">
        <pc:chgData name="Goertz, Benjamin" userId="7bbcdc09-a17a-459e-9ed5-6cf1c589f103" providerId="ADAL" clId="{FBDC1D71-CE94-45DD-89C8-CE2DF7BED357}" dt="2025-03-13T15:23:44.281" v="23" actId="47"/>
        <pc:sldMkLst>
          <pc:docMk/>
          <pc:sldMk cId="3670420967" sldId="403"/>
        </pc:sldMkLst>
      </pc:sldChg>
      <pc:sldChg chg="addSp delSp modSp mod">
        <pc:chgData name="Goertz, Benjamin" userId="7bbcdc09-a17a-459e-9ed5-6cf1c589f103" providerId="ADAL" clId="{FBDC1D71-CE94-45DD-89C8-CE2DF7BED357}" dt="2025-03-18T15:05:20.291" v="1119" actId="478"/>
        <pc:sldMkLst>
          <pc:docMk/>
          <pc:sldMk cId="4114435865" sldId="404"/>
        </pc:sldMkLst>
        <pc:spChg chg="mod">
          <ac:chgData name="Goertz, Benjamin" userId="7bbcdc09-a17a-459e-9ed5-6cf1c589f103" providerId="ADAL" clId="{FBDC1D71-CE94-45DD-89C8-CE2DF7BED357}" dt="2025-03-13T15:24:16.376" v="58" actId="20577"/>
          <ac:spMkLst>
            <pc:docMk/>
            <pc:sldMk cId="4114435865" sldId="404"/>
            <ac:spMk id="2" creationId="{FCB0AEAA-48C9-E271-A09D-2FF3AA049282}"/>
          </ac:spMkLst>
        </pc:spChg>
        <pc:spChg chg="del mod">
          <ac:chgData name="Goertz, Benjamin" userId="7bbcdc09-a17a-459e-9ed5-6cf1c589f103" providerId="ADAL" clId="{FBDC1D71-CE94-45DD-89C8-CE2DF7BED357}" dt="2025-03-18T15:05:20.291" v="1119" actId="478"/>
          <ac:spMkLst>
            <pc:docMk/>
            <pc:sldMk cId="4114435865" sldId="404"/>
            <ac:spMk id="3" creationId="{D47C3E9F-987E-0D7A-9015-004BB368C304}"/>
          </ac:spMkLst>
        </pc:spChg>
        <pc:picChg chg="add del mod modCrop">
          <ac:chgData name="Goertz, Benjamin" userId="7bbcdc09-a17a-459e-9ed5-6cf1c589f103" providerId="ADAL" clId="{FBDC1D71-CE94-45DD-89C8-CE2DF7BED357}" dt="2025-03-18T15:05:01.970" v="1112" actId="478"/>
          <ac:picMkLst>
            <pc:docMk/>
            <pc:sldMk cId="4114435865" sldId="404"/>
            <ac:picMk id="4" creationId="{314D8DC3-13B6-D083-952B-67CDB14BDFAE}"/>
          </ac:picMkLst>
        </pc:picChg>
        <pc:picChg chg="add mod">
          <ac:chgData name="Goertz, Benjamin" userId="7bbcdc09-a17a-459e-9ed5-6cf1c589f103" providerId="ADAL" clId="{FBDC1D71-CE94-45DD-89C8-CE2DF7BED357}" dt="2025-03-18T15:05:16.983" v="1118" actId="1076"/>
          <ac:picMkLst>
            <pc:docMk/>
            <pc:sldMk cId="4114435865" sldId="404"/>
            <ac:picMk id="5" creationId="{64475A6E-EA35-4408-CFD6-436A3653742E}"/>
          </ac:picMkLst>
        </pc:picChg>
      </pc:sldChg>
      <pc:sldChg chg="del">
        <pc:chgData name="Goertz, Benjamin" userId="7bbcdc09-a17a-459e-9ed5-6cf1c589f103" providerId="ADAL" clId="{FBDC1D71-CE94-45DD-89C8-CE2DF7BED357}" dt="2025-03-13T15:31:14.760" v="110" actId="47"/>
        <pc:sldMkLst>
          <pc:docMk/>
          <pc:sldMk cId="1563433569" sldId="407"/>
        </pc:sldMkLst>
      </pc:sldChg>
      <pc:sldChg chg="del">
        <pc:chgData name="Goertz, Benjamin" userId="7bbcdc09-a17a-459e-9ed5-6cf1c589f103" providerId="ADAL" clId="{FBDC1D71-CE94-45DD-89C8-CE2DF7BED357}" dt="2025-03-13T15:31:18.853" v="112" actId="47"/>
        <pc:sldMkLst>
          <pc:docMk/>
          <pc:sldMk cId="674439735" sldId="408"/>
        </pc:sldMkLst>
      </pc:sldChg>
      <pc:sldChg chg="del">
        <pc:chgData name="Goertz, Benjamin" userId="7bbcdc09-a17a-459e-9ed5-6cf1c589f103" providerId="ADAL" clId="{FBDC1D71-CE94-45DD-89C8-CE2DF7BED357}" dt="2025-03-13T15:43:11.491" v="278" actId="47"/>
        <pc:sldMkLst>
          <pc:docMk/>
          <pc:sldMk cId="4286135869" sldId="409"/>
        </pc:sldMkLst>
      </pc:sldChg>
      <pc:sldChg chg="modSp mod">
        <pc:chgData name="Goertz, Benjamin" userId="7bbcdc09-a17a-459e-9ed5-6cf1c589f103" providerId="ADAL" clId="{FBDC1D71-CE94-45DD-89C8-CE2DF7BED357}" dt="2025-03-19T17:24:56.644" v="4508" actId="20577"/>
        <pc:sldMkLst>
          <pc:docMk/>
          <pc:sldMk cId="79483094" sldId="410"/>
        </pc:sldMkLst>
        <pc:spChg chg="mod">
          <ac:chgData name="Goertz, Benjamin" userId="7bbcdc09-a17a-459e-9ed5-6cf1c589f103" providerId="ADAL" clId="{FBDC1D71-CE94-45DD-89C8-CE2DF7BED357}" dt="2025-03-19T17:24:56.644" v="4508" actId="20577"/>
          <ac:spMkLst>
            <pc:docMk/>
            <pc:sldMk cId="79483094" sldId="410"/>
            <ac:spMk id="8" creationId="{D80018B4-8BFB-30DB-1CA4-6165FA21D0A8}"/>
          </ac:spMkLst>
        </pc:spChg>
      </pc:sldChg>
      <pc:sldChg chg="addSp delSp modSp add mod">
        <pc:chgData name="Goertz, Benjamin" userId="7bbcdc09-a17a-459e-9ed5-6cf1c589f103" providerId="ADAL" clId="{FBDC1D71-CE94-45DD-89C8-CE2DF7BED357}" dt="2025-03-13T15:27:46.626" v="79" actId="14100"/>
        <pc:sldMkLst>
          <pc:docMk/>
          <pc:sldMk cId="73004473" sldId="411"/>
        </pc:sldMkLst>
        <pc:picChg chg="add mod">
          <ac:chgData name="Goertz, Benjamin" userId="7bbcdc09-a17a-459e-9ed5-6cf1c589f103" providerId="ADAL" clId="{FBDC1D71-CE94-45DD-89C8-CE2DF7BED357}" dt="2025-03-13T15:27:46.626" v="79" actId="14100"/>
          <ac:picMkLst>
            <pc:docMk/>
            <pc:sldMk cId="73004473" sldId="411"/>
            <ac:picMk id="4" creationId="{51C4EFBB-DE48-BE11-C287-A4F58D817EF3}"/>
          </ac:picMkLst>
        </pc:picChg>
      </pc:sldChg>
      <pc:sldChg chg="modSp add del mod ord">
        <pc:chgData name="Goertz, Benjamin" userId="7bbcdc09-a17a-459e-9ed5-6cf1c589f103" providerId="ADAL" clId="{FBDC1D71-CE94-45DD-89C8-CE2DF7BED357}" dt="2025-03-13T17:30:29.628" v="364" actId="20577"/>
        <pc:sldMkLst>
          <pc:docMk/>
          <pc:sldMk cId="423919767" sldId="412"/>
        </pc:sldMkLst>
        <pc:spChg chg="mod">
          <ac:chgData name="Goertz, Benjamin" userId="7bbcdc09-a17a-459e-9ed5-6cf1c589f103" providerId="ADAL" clId="{FBDC1D71-CE94-45DD-89C8-CE2DF7BED357}" dt="2025-03-13T17:30:29.628" v="364" actId="20577"/>
          <ac:spMkLst>
            <pc:docMk/>
            <pc:sldMk cId="423919767" sldId="412"/>
            <ac:spMk id="2" creationId="{19B19876-F2A6-AE9F-65E6-59B02FE37C2C}"/>
          </ac:spMkLst>
        </pc:spChg>
        <pc:spChg chg="mod">
          <ac:chgData name="Goertz, Benjamin" userId="7bbcdc09-a17a-459e-9ed5-6cf1c589f103" providerId="ADAL" clId="{FBDC1D71-CE94-45DD-89C8-CE2DF7BED357}" dt="2025-03-13T15:38:33.911" v="205" actId="122"/>
          <ac:spMkLst>
            <pc:docMk/>
            <pc:sldMk cId="423919767" sldId="412"/>
            <ac:spMk id="3" creationId="{C050535D-6CB8-DC86-3DDE-927F63D3C5C6}"/>
          </ac:spMkLst>
        </pc:spChg>
      </pc:sldChg>
      <pc:sldChg chg="addSp delSp modSp add mod">
        <pc:chgData name="Goertz, Benjamin" userId="7bbcdc09-a17a-459e-9ed5-6cf1c589f103" providerId="ADAL" clId="{FBDC1D71-CE94-45DD-89C8-CE2DF7BED357}" dt="2025-03-18T15:06:36.440" v="1133" actId="1076"/>
        <pc:sldMkLst>
          <pc:docMk/>
          <pc:sldMk cId="1369179782" sldId="413"/>
        </pc:sldMkLst>
        <pc:spChg chg="add mod">
          <ac:chgData name="Goertz, Benjamin" userId="7bbcdc09-a17a-459e-9ed5-6cf1c589f103" providerId="ADAL" clId="{FBDC1D71-CE94-45DD-89C8-CE2DF7BED357}" dt="2025-03-18T15:06:36.440" v="1133" actId="1076"/>
          <ac:spMkLst>
            <pc:docMk/>
            <pc:sldMk cId="1369179782" sldId="413"/>
            <ac:spMk id="6" creationId="{BA0DE69E-4B69-C2DD-43FE-51915707F4DB}"/>
          </ac:spMkLst>
        </pc:spChg>
        <pc:picChg chg="add mod">
          <ac:chgData name="Goertz, Benjamin" userId="7bbcdc09-a17a-459e-9ed5-6cf1c589f103" providerId="ADAL" clId="{FBDC1D71-CE94-45DD-89C8-CE2DF7BED357}" dt="2025-03-18T15:06:28.140" v="1132" actId="14100"/>
          <ac:picMkLst>
            <pc:docMk/>
            <pc:sldMk cId="1369179782" sldId="413"/>
            <ac:picMk id="3" creationId="{0A8B50DC-1ECD-7E39-B7B9-DDC115AB1061}"/>
          </ac:picMkLst>
        </pc:picChg>
        <pc:picChg chg="del mod modCrop">
          <ac:chgData name="Goertz, Benjamin" userId="7bbcdc09-a17a-459e-9ed5-6cf1c589f103" providerId="ADAL" clId="{FBDC1D71-CE94-45DD-89C8-CE2DF7BED357}" dt="2025-03-18T15:05:24.174" v="1120" actId="478"/>
          <ac:picMkLst>
            <pc:docMk/>
            <pc:sldMk cId="1369179782" sldId="413"/>
            <ac:picMk id="4" creationId="{EC16E133-A50D-71F4-CD03-EB57547C6C92}"/>
          </ac:picMkLst>
        </pc:picChg>
      </pc:sldChg>
      <pc:sldChg chg="addSp delSp modSp add mod">
        <pc:chgData name="Goertz, Benjamin" userId="7bbcdc09-a17a-459e-9ed5-6cf1c589f103" providerId="ADAL" clId="{FBDC1D71-CE94-45DD-89C8-CE2DF7BED357}" dt="2025-03-13T17:13:42.082" v="323" actId="1076"/>
        <pc:sldMkLst>
          <pc:docMk/>
          <pc:sldMk cId="1616021277" sldId="414"/>
        </pc:sldMkLst>
        <pc:picChg chg="add mod">
          <ac:chgData name="Goertz, Benjamin" userId="7bbcdc09-a17a-459e-9ed5-6cf1c589f103" providerId="ADAL" clId="{FBDC1D71-CE94-45DD-89C8-CE2DF7BED357}" dt="2025-03-13T17:13:42.082" v="323" actId="1076"/>
          <ac:picMkLst>
            <pc:docMk/>
            <pc:sldMk cId="1616021277" sldId="414"/>
            <ac:picMk id="6" creationId="{6920FBBE-16BF-65DC-5505-C0D43F6770DF}"/>
          </ac:picMkLst>
        </pc:picChg>
      </pc:sldChg>
      <pc:sldChg chg="addSp delSp modSp add mod ord">
        <pc:chgData name="Goertz, Benjamin" userId="7bbcdc09-a17a-459e-9ed5-6cf1c589f103" providerId="ADAL" clId="{FBDC1D71-CE94-45DD-89C8-CE2DF7BED357}" dt="2025-03-13T17:14:22.808" v="331" actId="1076"/>
        <pc:sldMkLst>
          <pc:docMk/>
          <pc:sldMk cId="3844587760" sldId="415"/>
        </pc:sldMkLst>
        <pc:picChg chg="add mod ord">
          <ac:chgData name="Goertz, Benjamin" userId="7bbcdc09-a17a-459e-9ed5-6cf1c589f103" providerId="ADAL" clId="{FBDC1D71-CE94-45DD-89C8-CE2DF7BED357}" dt="2025-03-13T17:14:22.808" v="331" actId="1076"/>
          <ac:picMkLst>
            <pc:docMk/>
            <pc:sldMk cId="3844587760" sldId="415"/>
            <ac:picMk id="6" creationId="{4FAFF843-4DAE-52B0-0C8A-286655E9A023}"/>
          </ac:picMkLst>
        </pc:picChg>
      </pc:sldChg>
      <pc:sldChg chg="del">
        <pc:chgData name="Goertz, Benjamin" userId="7bbcdc09-a17a-459e-9ed5-6cf1c589f103" providerId="ADAL" clId="{FBDC1D71-CE94-45DD-89C8-CE2DF7BED357}" dt="2025-03-19T14:06:49.124" v="2109" actId="47"/>
        <pc:sldMkLst>
          <pc:docMk/>
          <pc:sldMk cId="1870854185" sldId="416"/>
        </pc:sldMkLst>
      </pc:sldChg>
      <pc:sldChg chg="addSp modSp mod chgLayout">
        <pc:chgData name="Goertz, Benjamin" userId="7bbcdc09-a17a-459e-9ed5-6cf1c589f103" providerId="ADAL" clId="{FBDC1D71-CE94-45DD-89C8-CE2DF7BED357}" dt="2025-03-19T16:55:23.939" v="3912" actId="20577"/>
        <pc:sldMkLst>
          <pc:docMk/>
          <pc:sldMk cId="1503184294" sldId="417"/>
        </pc:sldMkLst>
        <pc:spChg chg="mod ord">
          <ac:chgData name="Goertz, Benjamin" userId="7bbcdc09-a17a-459e-9ed5-6cf1c589f103" providerId="ADAL" clId="{FBDC1D71-CE94-45DD-89C8-CE2DF7BED357}" dt="2025-03-19T14:06:56.096" v="2112" actId="20577"/>
          <ac:spMkLst>
            <pc:docMk/>
            <pc:sldMk cId="1503184294" sldId="417"/>
            <ac:spMk id="2" creationId="{8C74D1F0-3C8F-FA88-F7D6-8548107D14B9}"/>
          </ac:spMkLst>
        </pc:spChg>
        <pc:spChg chg="add mod ord">
          <ac:chgData name="Goertz, Benjamin" userId="7bbcdc09-a17a-459e-9ed5-6cf1c589f103" providerId="ADAL" clId="{FBDC1D71-CE94-45DD-89C8-CE2DF7BED357}" dt="2025-03-19T16:55:23.939" v="3912" actId="20577"/>
          <ac:spMkLst>
            <pc:docMk/>
            <pc:sldMk cId="1503184294" sldId="417"/>
            <ac:spMk id="3" creationId="{903E3304-8EA4-D5B7-67DA-B379224667AF}"/>
          </ac:spMkLst>
        </pc:spChg>
      </pc:sldChg>
      <pc:sldChg chg="addSp delSp modSp add mod">
        <pc:chgData name="Goertz, Benjamin" userId="7bbcdc09-a17a-459e-9ed5-6cf1c589f103" providerId="ADAL" clId="{FBDC1D71-CE94-45DD-89C8-CE2DF7BED357}" dt="2025-03-17T21:25:13.064" v="419" actId="1035"/>
        <pc:sldMkLst>
          <pc:docMk/>
          <pc:sldMk cId="2674086193" sldId="418"/>
        </pc:sldMkLst>
        <pc:picChg chg="add mod">
          <ac:chgData name="Goertz, Benjamin" userId="7bbcdc09-a17a-459e-9ed5-6cf1c589f103" providerId="ADAL" clId="{FBDC1D71-CE94-45DD-89C8-CE2DF7BED357}" dt="2025-03-17T21:25:13.064" v="419" actId="1035"/>
          <ac:picMkLst>
            <pc:docMk/>
            <pc:sldMk cId="2674086193" sldId="418"/>
            <ac:picMk id="5" creationId="{463BD609-C69F-9851-180B-A7DB2472C885}"/>
          </ac:picMkLst>
        </pc:picChg>
      </pc:sldChg>
      <pc:sldChg chg="addSp modSp add mod">
        <pc:chgData name="Goertz, Benjamin" userId="7bbcdc09-a17a-459e-9ed5-6cf1c589f103" providerId="ADAL" clId="{FBDC1D71-CE94-45DD-89C8-CE2DF7BED357}" dt="2025-03-19T13:44:27.836" v="1537" actId="20577"/>
        <pc:sldMkLst>
          <pc:docMk/>
          <pc:sldMk cId="1951581532" sldId="419"/>
        </pc:sldMkLst>
        <pc:spChg chg="mod">
          <ac:chgData name="Goertz, Benjamin" userId="7bbcdc09-a17a-459e-9ed5-6cf1c589f103" providerId="ADAL" clId="{FBDC1D71-CE94-45DD-89C8-CE2DF7BED357}" dt="2025-03-19T13:44:19.645" v="1531" actId="20577"/>
          <ac:spMkLst>
            <pc:docMk/>
            <pc:sldMk cId="1951581532" sldId="419"/>
            <ac:spMk id="2" creationId="{AF5D1D4F-B585-694C-19F7-8834821C5773}"/>
          </ac:spMkLst>
        </pc:spChg>
        <pc:spChg chg="mod">
          <ac:chgData name="Goertz, Benjamin" userId="7bbcdc09-a17a-459e-9ed5-6cf1c589f103" providerId="ADAL" clId="{FBDC1D71-CE94-45DD-89C8-CE2DF7BED357}" dt="2025-03-19T13:44:27.836" v="1537" actId="20577"/>
          <ac:spMkLst>
            <pc:docMk/>
            <pc:sldMk cId="1951581532" sldId="419"/>
            <ac:spMk id="3" creationId="{4C786C1D-BD6D-749C-B3ED-B943B65BF5F2}"/>
          </ac:spMkLst>
        </pc:spChg>
        <pc:graphicFrameChg chg="add mod">
          <ac:chgData name="Goertz, Benjamin" userId="7bbcdc09-a17a-459e-9ed5-6cf1c589f103" providerId="ADAL" clId="{FBDC1D71-CE94-45DD-89C8-CE2DF7BED357}" dt="2025-03-18T14:51:11.151" v="677" actId="14100"/>
          <ac:graphicFrameMkLst>
            <pc:docMk/>
            <pc:sldMk cId="1951581532" sldId="419"/>
            <ac:graphicFrameMk id="4" creationId="{93D24892-FD55-42BA-A3E2-55634F98B2E8}"/>
          </ac:graphicFrameMkLst>
        </pc:graphicFrameChg>
      </pc:sldChg>
      <pc:sldChg chg="addSp delSp modSp add mod chgLayout">
        <pc:chgData name="Goertz, Benjamin" userId="7bbcdc09-a17a-459e-9ed5-6cf1c589f103" providerId="ADAL" clId="{FBDC1D71-CE94-45DD-89C8-CE2DF7BED357}" dt="2025-03-19T14:17:59.250" v="2819" actId="20577"/>
        <pc:sldMkLst>
          <pc:docMk/>
          <pc:sldMk cId="3695357645" sldId="420"/>
        </pc:sldMkLst>
        <pc:spChg chg="mod ord">
          <ac:chgData name="Goertz, Benjamin" userId="7bbcdc09-a17a-459e-9ed5-6cf1c589f103" providerId="ADAL" clId="{FBDC1D71-CE94-45DD-89C8-CE2DF7BED357}" dt="2025-03-19T14:10:21.528" v="2362" actId="20577"/>
          <ac:spMkLst>
            <pc:docMk/>
            <pc:sldMk cId="3695357645" sldId="420"/>
            <ac:spMk id="2" creationId="{0A913777-AA7B-DAC1-1D95-EC51402382A4}"/>
          </ac:spMkLst>
        </pc:spChg>
        <pc:spChg chg="add del mod ord">
          <ac:chgData name="Goertz, Benjamin" userId="7bbcdc09-a17a-459e-9ed5-6cf1c589f103" providerId="ADAL" clId="{FBDC1D71-CE94-45DD-89C8-CE2DF7BED357}" dt="2025-03-19T14:08:29.851" v="2166" actId="931"/>
          <ac:spMkLst>
            <pc:docMk/>
            <pc:sldMk cId="3695357645" sldId="420"/>
            <ac:spMk id="4" creationId="{AD9362AE-5DDD-E98E-CCA7-8AE8235FB50A}"/>
          </ac:spMkLst>
        </pc:spChg>
        <pc:spChg chg="del mod">
          <ac:chgData name="Goertz, Benjamin" userId="7bbcdc09-a17a-459e-9ed5-6cf1c589f103" providerId="ADAL" clId="{FBDC1D71-CE94-45DD-89C8-CE2DF7BED357}" dt="2025-03-19T14:08:08.543" v="2164"/>
          <ac:spMkLst>
            <pc:docMk/>
            <pc:sldMk cId="3695357645" sldId="420"/>
            <ac:spMk id="6" creationId="{2F12ACED-42D5-3B12-3FC1-7C39ABAC3FB4}"/>
          </ac:spMkLst>
        </pc:spChg>
        <pc:spChg chg="add mod">
          <ac:chgData name="Goertz, Benjamin" userId="7bbcdc09-a17a-459e-9ed5-6cf1c589f103" providerId="ADAL" clId="{FBDC1D71-CE94-45DD-89C8-CE2DF7BED357}" dt="2025-03-19T14:17:59.250" v="2819" actId="20577"/>
          <ac:spMkLst>
            <pc:docMk/>
            <pc:sldMk cId="3695357645" sldId="420"/>
            <ac:spMk id="11" creationId="{A0DF3C24-9E28-6ABC-142F-1EAAA61DE286}"/>
          </ac:spMkLst>
        </pc:spChg>
        <pc:picChg chg="del">
          <ac:chgData name="Goertz, Benjamin" userId="7bbcdc09-a17a-459e-9ed5-6cf1c589f103" providerId="ADAL" clId="{FBDC1D71-CE94-45DD-89C8-CE2DF7BED357}" dt="2025-03-19T14:07:22.964" v="2116" actId="478"/>
          <ac:picMkLst>
            <pc:docMk/>
            <pc:sldMk cId="3695357645" sldId="420"/>
            <ac:picMk id="3" creationId="{5E4127A1-AFAA-C389-5927-5DAD3D9D3A26}"/>
          </ac:picMkLst>
        </pc:picChg>
        <pc:picChg chg="add del mod ord">
          <ac:chgData name="Goertz, Benjamin" userId="7bbcdc09-a17a-459e-9ed5-6cf1c589f103" providerId="ADAL" clId="{FBDC1D71-CE94-45DD-89C8-CE2DF7BED357}" dt="2025-03-19T14:08:57.205" v="2180" actId="478"/>
          <ac:picMkLst>
            <pc:docMk/>
            <pc:sldMk cId="3695357645" sldId="420"/>
            <ac:picMk id="7" creationId="{4FD1E91A-0527-7D7B-EA67-2BC7BEA390F4}"/>
          </ac:picMkLst>
        </pc:picChg>
        <pc:picChg chg="add mod ord">
          <ac:chgData name="Goertz, Benjamin" userId="7bbcdc09-a17a-459e-9ed5-6cf1c589f103" providerId="ADAL" clId="{FBDC1D71-CE94-45DD-89C8-CE2DF7BED357}" dt="2025-03-19T14:12:33.435" v="2490" actId="1076"/>
          <ac:picMkLst>
            <pc:docMk/>
            <pc:sldMk cId="3695357645" sldId="420"/>
            <ac:picMk id="9" creationId="{48616DB9-BC2A-CEDC-29A2-2883958ADF0A}"/>
          </ac:picMkLst>
        </pc:picChg>
        <pc:picChg chg="add mod modCrop">
          <ac:chgData name="Goertz, Benjamin" userId="7bbcdc09-a17a-459e-9ed5-6cf1c589f103" providerId="ADAL" clId="{FBDC1D71-CE94-45DD-89C8-CE2DF7BED357}" dt="2025-03-19T14:12:26.275" v="2487" actId="14100"/>
          <ac:picMkLst>
            <pc:docMk/>
            <pc:sldMk cId="3695357645" sldId="420"/>
            <ac:picMk id="13" creationId="{89C8AC24-D537-EC9D-8D2F-1461BDC4883B}"/>
          </ac:picMkLst>
        </pc:picChg>
      </pc:sldChg>
      <pc:sldChg chg="modSp add del mod">
        <pc:chgData name="Goertz, Benjamin" userId="7bbcdc09-a17a-459e-9ed5-6cf1c589f103" providerId="ADAL" clId="{FBDC1D71-CE94-45DD-89C8-CE2DF7BED357}" dt="2025-03-19T15:55:48.678" v="3742" actId="47"/>
        <pc:sldMkLst>
          <pc:docMk/>
          <pc:sldMk cId="2337018101" sldId="421"/>
        </pc:sldMkLst>
        <pc:spChg chg="mod">
          <ac:chgData name="Goertz, Benjamin" userId="7bbcdc09-a17a-459e-9ed5-6cf1c589f103" providerId="ADAL" clId="{FBDC1D71-CE94-45DD-89C8-CE2DF7BED357}" dt="2025-03-19T15:54:53.500" v="3717" actId="20577"/>
          <ac:spMkLst>
            <pc:docMk/>
            <pc:sldMk cId="2337018101" sldId="421"/>
            <ac:spMk id="2" creationId="{9999B325-6808-F9C8-297C-2E04CB244307}"/>
          </ac:spMkLst>
        </pc:spChg>
      </pc:sldChg>
      <pc:sldChg chg="addSp modSp add mod ord">
        <pc:chgData name="Goertz, Benjamin" userId="7bbcdc09-a17a-459e-9ed5-6cf1c589f103" providerId="ADAL" clId="{FBDC1D71-CE94-45DD-89C8-CE2DF7BED357}" dt="2025-03-19T15:55:44.290" v="3741" actId="20577"/>
        <pc:sldMkLst>
          <pc:docMk/>
          <pc:sldMk cId="3978801337" sldId="422"/>
        </pc:sldMkLst>
        <pc:spChg chg="mod">
          <ac:chgData name="Goertz, Benjamin" userId="7bbcdc09-a17a-459e-9ed5-6cf1c589f103" providerId="ADAL" clId="{FBDC1D71-CE94-45DD-89C8-CE2DF7BED357}" dt="2025-03-19T15:55:44.290" v="3741" actId="20577"/>
          <ac:spMkLst>
            <pc:docMk/>
            <pc:sldMk cId="3978801337" sldId="422"/>
            <ac:spMk id="3" creationId="{8521C9B0-96A7-E646-817E-17DF9BA67996}"/>
          </ac:spMkLst>
        </pc:spChg>
        <pc:spChg chg="add mod">
          <ac:chgData name="Goertz, Benjamin" userId="7bbcdc09-a17a-459e-9ed5-6cf1c589f103" providerId="ADAL" clId="{FBDC1D71-CE94-45DD-89C8-CE2DF7BED357}" dt="2025-03-19T15:48:41.451" v="3241" actId="14100"/>
          <ac:spMkLst>
            <pc:docMk/>
            <pc:sldMk cId="3978801337" sldId="422"/>
            <ac:spMk id="4" creationId="{8F1EBD4B-8C29-BEAE-8093-91CF0D4F8AB4}"/>
          </ac:spMkLst>
        </pc:spChg>
        <pc:picChg chg="add mod">
          <ac:chgData name="Goertz, Benjamin" userId="7bbcdc09-a17a-459e-9ed5-6cf1c589f103" providerId="ADAL" clId="{FBDC1D71-CE94-45DD-89C8-CE2DF7BED357}" dt="2025-03-19T15:49:07.003" v="3246" actId="962"/>
          <ac:picMkLst>
            <pc:docMk/>
            <pc:sldMk cId="3978801337" sldId="422"/>
            <ac:picMk id="6" creationId="{756E3874-E9BB-243C-B0DA-94B73AA1B2F3}"/>
          </ac:picMkLst>
        </pc:picChg>
      </pc:sldChg>
      <pc:sldChg chg="addSp modSp add mod">
        <pc:chgData name="Goertz, Benjamin" userId="7bbcdc09-a17a-459e-9ed5-6cf1c589f103" providerId="ADAL" clId="{FBDC1D71-CE94-45DD-89C8-CE2DF7BED357}" dt="2025-03-19T17:29:50.239" v="4526" actId="20577"/>
        <pc:sldMkLst>
          <pc:docMk/>
          <pc:sldMk cId="1186208203" sldId="423"/>
        </pc:sldMkLst>
        <pc:spChg chg="mod">
          <ac:chgData name="Goertz, Benjamin" userId="7bbcdc09-a17a-459e-9ed5-6cf1c589f103" providerId="ADAL" clId="{FBDC1D71-CE94-45DD-89C8-CE2DF7BED357}" dt="2025-03-19T17:23:27.178" v="4325" actId="20577"/>
          <ac:spMkLst>
            <pc:docMk/>
            <pc:sldMk cId="1186208203" sldId="423"/>
            <ac:spMk id="2" creationId="{F30E943E-4CDD-BDC9-63F7-673385DB66E6}"/>
          </ac:spMkLst>
        </pc:spChg>
        <pc:spChg chg="mod">
          <ac:chgData name="Goertz, Benjamin" userId="7bbcdc09-a17a-459e-9ed5-6cf1c589f103" providerId="ADAL" clId="{FBDC1D71-CE94-45DD-89C8-CE2DF7BED357}" dt="2025-03-19T17:29:50.239" v="4526" actId="20577"/>
          <ac:spMkLst>
            <pc:docMk/>
            <pc:sldMk cId="1186208203" sldId="423"/>
            <ac:spMk id="3" creationId="{ADEA4E6D-CF5C-F9CB-244D-2C1284E3B604}"/>
          </ac:spMkLst>
        </pc:spChg>
        <pc:picChg chg="add mod">
          <ac:chgData name="Goertz, Benjamin" userId="7bbcdc09-a17a-459e-9ed5-6cf1c589f103" providerId="ADAL" clId="{FBDC1D71-CE94-45DD-89C8-CE2DF7BED357}" dt="2025-03-19T17:28:16.485" v="4511" actId="1076"/>
          <ac:picMkLst>
            <pc:docMk/>
            <pc:sldMk cId="1186208203" sldId="423"/>
            <ac:picMk id="5" creationId="{78364A85-12AF-C11F-202D-904AB7B40602}"/>
          </ac:picMkLst>
        </pc:picChg>
      </pc:sldChg>
      <pc:sldChg chg="addSp delSp modSp add mod">
        <pc:chgData name="Goertz, Benjamin" userId="7bbcdc09-a17a-459e-9ed5-6cf1c589f103" providerId="ADAL" clId="{FBDC1D71-CE94-45DD-89C8-CE2DF7BED357}" dt="2025-03-19T17:21:22.144" v="4311" actId="1076"/>
        <pc:sldMkLst>
          <pc:docMk/>
          <pc:sldMk cId="394757324" sldId="424"/>
        </pc:sldMkLst>
        <pc:spChg chg="mod">
          <ac:chgData name="Goertz, Benjamin" userId="7bbcdc09-a17a-459e-9ed5-6cf1c589f103" providerId="ADAL" clId="{FBDC1D71-CE94-45DD-89C8-CE2DF7BED357}" dt="2025-03-19T17:19:44.601" v="4305" actId="20577"/>
          <ac:spMkLst>
            <pc:docMk/>
            <pc:sldMk cId="394757324" sldId="424"/>
            <ac:spMk id="2" creationId="{5526B667-5BE8-4D72-9AB9-5EF6A1258447}"/>
          </ac:spMkLst>
        </pc:spChg>
        <pc:spChg chg="mod">
          <ac:chgData name="Goertz, Benjamin" userId="7bbcdc09-a17a-459e-9ed5-6cf1c589f103" providerId="ADAL" clId="{FBDC1D71-CE94-45DD-89C8-CE2DF7BED357}" dt="2025-03-19T17:20:13.328" v="4306" actId="20577"/>
          <ac:spMkLst>
            <pc:docMk/>
            <pc:sldMk cId="394757324" sldId="424"/>
            <ac:spMk id="11" creationId="{AB50D392-4145-D4E7-9C99-797E6127EABD}"/>
          </ac:spMkLst>
        </pc:spChg>
        <pc:picChg chg="add del mod">
          <ac:chgData name="Goertz, Benjamin" userId="7bbcdc09-a17a-459e-9ed5-6cf1c589f103" providerId="ADAL" clId="{FBDC1D71-CE94-45DD-89C8-CE2DF7BED357}" dt="2025-03-19T17:16:20.684" v="4080" actId="478"/>
          <ac:picMkLst>
            <pc:docMk/>
            <pc:sldMk cId="394757324" sldId="424"/>
            <ac:picMk id="4" creationId="{67158E05-5927-0A0C-B618-5E7594DA2734}"/>
          </ac:picMkLst>
        </pc:picChg>
        <pc:picChg chg="add mod">
          <ac:chgData name="Goertz, Benjamin" userId="7bbcdc09-a17a-459e-9ed5-6cf1c589f103" providerId="ADAL" clId="{FBDC1D71-CE94-45DD-89C8-CE2DF7BED357}" dt="2025-03-19T17:21:17.794" v="4310" actId="14100"/>
          <ac:picMkLst>
            <pc:docMk/>
            <pc:sldMk cId="394757324" sldId="424"/>
            <ac:picMk id="6" creationId="{ECC755B7-B39E-3360-12EE-F94EDB3B46C7}"/>
          </ac:picMkLst>
        </pc:picChg>
        <pc:picChg chg="add del mod">
          <ac:chgData name="Goertz, Benjamin" userId="7bbcdc09-a17a-459e-9ed5-6cf1c589f103" providerId="ADAL" clId="{FBDC1D71-CE94-45DD-89C8-CE2DF7BED357}" dt="2025-03-19T17:20:39.256" v="4307" actId="478"/>
          <ac:picMkLst>
            <pc:docMk/>
            <pc:sldMk cId="394757324" sldId="424"/>
            <ac:picMk id="8" creationId="{1B67DFFD-80DB-92D8-BF13-77E590D87E7F}"/>
          </ac:picMkLst>
        </pc:picChg>
        <pc:picChg chg="del">
          <ac:chgData name="Goertz, Benjamin" userId="7bbcdc09-a17a-459e-9ed5-6cf1c589f103" providerId="ADAL" clId="{FBDC1D71-CE94-45DD-89C8-CE2DF7BED357}" dt="2025-03-19T17:11:31.429" v="3976" actId="478"/>
          <ac:picMkLst>
            <pc:docMk/>
            <pc:sldMk cId="394757324" sldId="424"/>
            <ac:picMk id="9" creationId="{20A5ACB5-25C5-609C-E9A6-FC34CA09B67D}"/>
          </ac:picMkLst>
        </pc:picChg>
        <pc:picChg chg="add mod">
          <ac:chgData name="Goertz, Benjamin" userId="7bbcdc09-a17a-459e-9ed5-6cf1c589f103" providerId="ADAL" clId="{FBDC1D71-CE94-45DD-89C8-CE2DF7BED357}" dt="2025-03-19T17:21:22.144" v="4311" actId="1076"/>
          <ac:picMkLst>
            <pc:docMk/>
            <pc:sldMk cId="394757324" sldId="424"/>
            <ac:picMk id="12" creationId="{8021A8C1-787E-6A64-FF08-55EE1799E153}"/>
          </ac:picMkLst>
        </pc:picChg>
        <pc:picChg chg="del">
          <ac:chgData name="Goertz, Benjamin" userId="7bbcdc09-a17a-459e-9ed5-6cf1c589f103" providerId="ADAL" clId="{FBDC1D71-CE94-45DD-89C8-CE2DF7BED357}" dt="2025-03-19T17:11:30.613" v="3975" actId="478"/>
          <ac:picMkLst>
            <pc:docMk/>
            <pc:sldMk cId="394757324" sldId="424"/>
            <ac:picMk id="13" creationId="{9F083975-0327-2737-B50C-6955056D8673}"/>
          </ac:picMkLst>
        </pc:picChg>
      </pc:sldChg>
    </pc:docChg>
  </pc:docChgLst>
  <pc:docChgLst>
    <pc:chgData name="Goertz, Benjamin" userId="S::bgoertz@fmi.com::7bbcdc09-a17a-459e-9ed5-6cf1c589f103" providerId="AD" clId="Web-{DBB581FE-426F-DEC2-A309-A2D2589DC7BF}"/>
    <pc:docChg chg="addSld modSld">
      <pc:chgData name="Goertz, Benjamin" userId="S::bgoertz@fmi.com::7bbcdc09-a17a-459e-9ed5-6cf1c589f103" providerId="AD" clId="Web-{DBB581FE-426F-DEC2-A309-A2D2589DC7BF}" dt="2025-03-13T19:28:47.985" v="24"/>
      <pc:docMkLst>
        <pc:docMk/>
      </pc:docMkLst>
      <pc:sldChg chg="delSp modSp">
        <pc:chgData name="Goertz, Benjamin" userId="S::bgoertz@fmi.com::7bbcdc09-a17a-459e-9ed5-6cf1c589f103" providerId="AD" clId="Web-{DBB581FE-426F-DEC2-A309-A2D2589DC7BF}" dt="2025-03-13T19:28:47.985" v="24"/>
        <pc:sldMkLst>
          <pc:docMk/>
          <pc:sldMk cId="2742329154" sldId="385"/>
        </pc:sldMkLst>
        <pc:spChg chg="mod">
          <ac:chgData name="Goertz, Benjamin" userId="S::bgoertz@fmi.com::7bbcdc09-a17a-459e-9ed5-6cf1c589f103" providerId="AD" clId="Web-{DBB581FE-426F-DEC2-A309-A2D2589DC7BF}" dt="2025-03-13T19:28:46.657" v="22" actId="20577"/>
          <ac:spMkLst>
            <pc:docMk/>
            <pc:sldMk cId="2742329154" sldId="385"/>
            <ac:spMk id="3" creationId="{2B4744C7-1653-5F58-4FEB-04C6B62B7ED1}"/>
          </ac:spMkLst>
        </pc:spChg>
      </pc:sldChg>
      <pc:sldChg chg="modSp add replId">
        <pc:chgData name="Goertz, Benjamin" userId="S::bgoertz@fmi.com::7bbcdc09-a17a-459e-9ed5-6cf1c589f103" providerId="AD" clId="Web-{DBB581FE-426F-DEC2-A309-A2D2589DC7BF}" dt="2025-03-13T19:28:19.750" v="3" actId="20577"/>
        <pc:sldMkLst>
          <pc:docMk/>
          <pc:sldMk cId="1870854185" sldId="416"/>
        </pc:sldMkLst>
      </pc:sldChg>
      <pc:sldChg chg="modSp add replId">
        <pc:chgData name="Goertz, Benjamin" userId="S::bgoertz@fmi.com::7bbcdc09-a17a-459e-9ed5-6cf1c589f103" providerId="AD" clId="Web-{DBB581FE-426F-DEC2-A309-A2D2589DC7BF}" dt="2025-03-13T19:28:27.938" v="8" actId="20577"/>
        <pc:sldMkLst>
          <pc:docMk/>
          <pc:sldMk cId="1503184294" sldId="417"/>
        </pc:sldMkLst>
        <pc:spChg chg="mod">
          <ac:chgData name="Goertz, Benjamin" userId="S::bgoertz@fmi.com::7bbcdc09-a17a-459e-9ed5-6cf1c589f103" providerId="AD" clId="Web-{DBB581FE-426F-DEC2-A309-A2D2589DC7BF}" dt="2025-03-13T19:28:27.938" v="8" actId="20577"/>
          <ac:spMkLst>
            <pc:docMk/>
            <pc:sldMk cId="1503184294" sldId="417"/>
            <ac:spMk id="2" creationId="{8C74D1F0-3C8F-FA88-F7D6-8548107D14B9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goertz\Downloads\Count%20by%20Form%20and%20Missing%20Control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 color</c:v>
                </c:pt>
              </c:strCache>
            </c:strRef>
          </c:tx>
          <c:spPr>
            <a:solidFill>
              <a:srgbClr val="D34727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1C-4681-A508-4659903BF65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 color</c:v>
                </c:pt>
              </c:strCache>
            </c:strRef>
          </c:tx>
          <c:spPr>
            <a:solidFill>
              <a:srgbClr val="E18332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11C-4681-A508-4659903BF65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 color</c:v>
                </c:pt>
              </c:strCache>
            </c:strRef>
          </c:tx>
          <c:spPr>
            <a:solidFill>
              <a:srgbClr val="FEC745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11C-4681-A508-4659903BF65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4 color</c:v>
                </c:pt>
              </c:strCache>
            </c:strRef>
          </c:tx>
          <c:spPr>
            <a:solidFill>
              <a:srgbClr val="27B3D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11C-4681-A508-4659903BF656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5 color</c:v>
                </c:pt>
              </c:strCache>
            </c:strRef>
          </c:tx>
          <c:spPr>
            <a:solidFill>
              <a:srgbClr val="0088BA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11C-4681-A508-4659903BF656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6 color</c:v>
                </c:pt>
              </c:strCache>
            </c:strRef>
          </c:tx>
          <c:spPr>
            <a:solidFill>
              <a:srgbClr val="88BA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8BA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711C-4681-A508-4659903BF656}"/>
              </c:ext>
            </c:extLst>
          </c:dPt>
          <c:dPt>
            <c:idx val="1"/>
            <c:invertIfNegative val="0"/>
            <c:bubble3D val="0"/>
            <c:spPr>
              <a:solidFill>
                <a:srgbClr val="88BA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711C-4681-A508-4659903BF656}"/>
              </c:ext>
            </c:extLst>
          </c:dPt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G$2:$G$3</c:f>
              <c:numCache>
                <c:formatCode>General</c:formatCode>
                <c:ptCount val="2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11C-4681-A508-4659903BF656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7 color</c:v>
                </c:pt>
              </c:strCache>
            </c:strRef>
          </c:tx>
          <c:spPr>
            <a:solidFill>
              <a:srgbClr val="934E1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934E1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711C-4681-A508-4659903BF656}"/>
              </c:ext>
            </c:extLst>
          </c:dPt>
          <c:cat>
            <c:strRef>
              <c:f>Sheet1!$A$2:$A$3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H$2:$H$3</c:f>
              <c:numCache>
                <c:formatCode>General</c:formatCode>
                <c:ptCount val="2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11C-4681-A508-4659903BF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78063408"/>
        <c:axId val="1298492384"/>
      </c:barChart>
      <c:catAx>
        <c:axId val="1078063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298492384"/>
        <c:crosses val="autoZero"/>
        <c:auto val="1"/>
        <c:lblAlgn val="ctr"/>
        <c:lblOffset val="100"/>
        <c:noMultiLvlLbl val="0"/>
      </c:catAx>
      <c:valAx>
        <c:axId val="1298492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078063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D34727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762-43A8-AFF0-D6FE13D292E3}"/>
              </c:ext>
            </c:extLst>
          </c:dPt>
          <c:dPt>
            <c:idx val="1"/>
            <c:bubble3D val="0"/>
            <c:spPr>
              <a:solidFill>
                <a:srgbClr val="E1833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762-43A8-AFF0-D6FE13D292E3}"/>
              </c:ext>
            </c:extLst>
          </c:dPt>
          <c:dPt>
            <c:idx val="2"/>
            <c:bubble3D val="0"/>
            <c:spPr>
              <a:solidFill>
                <a:srgbClr val="FEC24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762-43A8-AFF0-D6FE13D292E3}"/>
              </c:ext>
            </c:extLst>
          </c:dPt>
          <c:dPt>
            <c:idx val="3"/>
            <c:bubble3D val="0"/>
            <c:spPr>
              <a:solidFill>
                <a:srgbClr val="27B3D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762-43A8-AFF0-D6FE13D292E3}"/>
              </c:ext>
            </c:extLst>
          </c:dPt>
          <c:dPt>
            <c:idx val="4"/>
            <c:bubble3D val="0"/>
            <c:spPr>
              <a:solidFill>
                <a:srgbClr val="0088BA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762-43A8-AFF0-D6FE13D292E3}"/>
              </c:ext>
            </c:extLst>
          </c:dPt>
          <c:dPt>
            <c:idx val="5"/>
            <c:bubble3D val="0"/>
            <c:spPr>
              <a:solidFill>
                <a:schemeClr val="tx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B762-43A8-AFF0-D6FE13D292E3}"/>
              </c:ext>
            </c:extLst>
          </c:dPt>
          <c:dPt>
            <c:idx val="6"/>
            <c:bubble3D val="0"/>
            <c:spPr>
              <a:solidFill>
                <a:srgbClr val="934E1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B762-43A8-AFF0-D6FE13D292E3}"/>
              </c:ext>
            </c:extLst>
          </c:dPt>
          <c:dPt>
            <c:idx val="7"/>
            <c:bubble3D val="0"/>
            <c:spPr>
              <a:solidFill>
                <a:srgbClr val="88BA0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B762-43A8-AFF0-D6FE13D292E3}"/>
              </c:ext>
            </c:extLst>
          </c:dPt>
          <c:cat>
            <c:strRef>
              <c:f>Sheet1!$A$2:$A$9</c:f>
              <c:strCache>
                <c:ptCount val="8"/>
                <c:pt idx="0">
                  <c:v>1 color</c:v>
                </c:pt>
                <c:pt idx="1">
                  <c:v>2 color</c:v>
                </c:pt>
                <c:pt idx="2">
                  <c:v>3 color</c:v>
                </c:pt>
                <c:pt idx="3">
                  <c:v>4 color</c:v>
                </c:pt>
                <c:pt idx="4">
                  <c:v>5 color</c:v>
                </c:pt>
                <c:pt idx="5">
                  <c:v>6 color</c:v>
                </c:pt>
                <c:pt idx="6">
                  <c:v>7 color</c:v>
                </c:pt>
                <c:pt idx="7">
                  <c:v>8 color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B762-43A8-AFF0-D6FE13D292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February</a:t>
            </a:r>
            <a:r>
              <a:rPr lang="en-US" baseline="0"/>
              <a:t> </a:t>
            </a:r>
            <a:r>
              <a:rPr lang="en-US"/>
              <a:t>FRM </a:t>
            </a:r>
            <a:r>
              <a:rPr lang="en-US" baseline="0"/>
              <a:t>Audi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46425401598483584"/>
          <c:y val="0.11514904073921434"/>
          <c:w val="0.49809067855059402"/>
          <c:h val="0.8042624611461828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February!$B$3</c:f>
              <c:strCache>
                <c:ptCount val="1"/>
                <c:pt idx="0">
                  <c:v>No Missing Control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February!$A$11:$A$30</c:f>
              <c:strCache>
                <c:ptCount val="20"/>
                <c:pt idx="0">
                  <c:v>Interaction with Aircraft Unmanned</c:v>
                </c:pt>
                <c:pt idx="1">
                  <c:v>Underground Rock Fall</c:v>
                </c:pt>
                <c:pt idx="2">
                  <c:v>Hazardous Substances Acute</c:v>
                </c:pt>
                <c:pt idx="3">
                  <c:v>Hazardous Substances Chronic General</c:v>
                </c:pt>
                <c:pt idx="4">
                  <c:v>Exposure to Electrical Hazards</c:v>
                </c:pt>
                <c:pt idx="5">
                  <c:v>Falling Objects</c:v>
                </c:pt>
                <c:pt idx="6">
                  <c:v>Fall from Heights</c:v>
                </c:pt>
                <c:pt idx="7">
                  <c:v>Lifting Operations</c:v>
                </c:pt>
                <c:pt idx="8">
                  <c:v>Vehicle Impact on Person</c:v>
                </c:pt>
                <c:pt idx="9">
                  <c:v>Vehicle Collisions or Rollover</c:v>
                </c:pt>
                <c:pt idx="10">
                  <c:v>Uncontrolled Release of Energy Mapped</c:v>
                </c:pt>
                <c:pt idx="11">
                  <c:v>Confined Space</c:v>
                </c:pt>
                <c:pt idx="12">
                  <c:v>Entanglement and Crushing</c:v>
                </c:pt>
                <c:pt idx="13">
                  <c:v>Blasting (Surface)</c:v>
                </c:pt>
                <c:pt idx="14">
                  <c:v>Underground Inrush</c:v>
                </c:pt>
                <c:pt idx="15">
                  <c:v>Blasting (Underground)</c:v>
                </c:pt>
                <c:pt idx="16">
                  <c:v>Drowning</c:v>
                </c:pt>
                <c:pt idx="17">
                  <c:v>Fire</c:v>
                </c:pt>
                <c:pt idx="18">
                  <c:v>Underground Hazardous Atmosphere</c:v>
                </c:pt>
                <c:pt idx="19">
                  <c:v>Ground Failure</c:v>
                </c:pt>
              </c:strCache>
            </c:strRef>
          </c:cat>
          <c:val>
            <c:numRef>
              <c:f>February!$B$11:$B$30</c:f>
              <c:numCache>
                <c:formatCode>General</c:formatCode>
                <c:ptCount val="20"/>
                <c:pt idx="0">
                  <c:v>0</c:v>
                </c:pt>
                <c:pt idx="1">
                  <c:v>3</c:v>
                </c:pt>
                <c:pt idx="2">
                  <c:v>4</c:v>
                </c:pt>
                <c:pt idx="3">
                  <c:v>2</c:v>
                </c:pt>
                <c:pt idx="4">
                  <c:v>10</c:v>
                </c:pt>
                <c:pt idx="5">
                  <c:v>5</c:v>
                </c:pt>
                <c:pt idx="6">
                  <c:v>13</c:v>
                </c:pt>
                <c:pt idx="7">
                  <c:v>9</c:v>
                </c:pt>
                <c:pt idx="8">
                  <c:v>13</c:v>
                </c:pt>
                <c:pt idx="9">
                  <c:v>19</c:v>
                </c:pt>
                <c:pt idx="10">
                  <c:v>9</c:v>
                </c:pt>
                <c:pt idx="11">
                  <c:v>8</c:v>
                </c:pt>
                <c:pt idx="12">
                  <c:v>8</c:v>
                </c:pt>
                <c:pt idx="13">
                  <c:v>7</c:v>
                </c:pt>
                <c:pt idx="14">
                  <c:v>5</c:v>
                </c:pt>
                <c:pt idx="15">
                  <c:v>3</c:v>
                </c:pt>
                <c:pt idx="16">
                  <c:v>2</c:v>
                </c:pt>
                <c:pt idx="17">
                  <c:v>2</c:v>
                </c:pt>
                <c:pt idx="18">
                  <c:v>2</c:v>
                </c:pt>
                <c:pt idx="1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C2-4F84-AD90-DC145BD71F0E}"/>
            </c:ext>
          </c:extLst>
        </c:ser>
        <c:ser>
          <c:idx val="1"/>
          <c:order val="1"/>
          <c:tx>
            <c:strRef>
              <c:f>February!$C$3</c:f>
              <c:strCache>
                <c:ptCount val="1"/>
                <c:pt idx="0">
                  <c:v>Missing Control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ebruary!$A$11:$A$30</c:f>
              <c:strCache>
                <c:ptCount val="20"/>
                <c:pt idx="0">
                  <c:v>Interaction with Aircraft Unmanned</c:v>
                </c:pt>
                <c:pt idx="1">
                  <c:v>Underground Rock Fall</c:v>
                </c:pt>
                <c:pt idx="2">
                  <c:v>Hazardous Substances Acute</c:v>
                </c:pt>
                <c:pt idx="3">
                  <c:v>Hazardous Substances Chronic General</c:v>
                </c:pt>
                <c:pt idx="4">
                  <c:v>Exposure to Electrical Hazards</c:v>
                </c:pt>
                <c:pt idx="5">
                  <c:v>Falling Objects</c:v>
                </c:pt>
                <c:pt idx="6">
                  <c:v>Fall from Heights</c:v>
                </c:pt>
                <c:pt idx="7">
                  <c:v>Lifting Operations</c:v>
                </c:pt>
                <c:pt idx="8">
                  <c:v>Vehicle Impact on Person</c:v>
                </c:pt>
                <c:pt idx="9">
                  <c:v>Vehicle Collisions or Rollover</c:v>
                </c:pt>
                <c:pt idx="10">
                  <c:v>Uncontrolled Release of Energy Mapped</c:v>
                </c:pt>
                <c:pt idx="11">
                  <c:v>Confined Space</c:v>
                </c:pt>
                <c:pt idx="12">
                  <c:v>Entanglement and Crushing</c:v>
                </c:pt>
                <c:pt idx="13">
                  <c:v>Blasting (Surface)</c:v>
                </c:pt>
                <c:pt idx="14">
                  <c:v>Underground Inrush</c:v>
                </c:pt>
                <c:pt idx="15">
                  <c:v>Blasting (Underground)</c:v>
                </c:pt>
                <c:pt idx="16">
                  <c:v>Drowning</c:v>
                </c:pt>
                <c:pt idx="17">
                  <c:v>Fire</c:v>
                </c:pt>
                <c:pt idx="18">
                  <c:v>Underground Hazardous Atmosphere</c:v>
                </c:pt>
                <c:pt idx="19">
                  <c:v>Ground Failure</c:v>
                </c:pt>
              </c:strCache>
            </c:strRef>
          </c:cat>
          <c:val>
            <c:numRef>
              <c:f>February!$C$11:$C$30</c:f>
              <c:numCache>
                <c:formatCode>General</c:formatCode>
                <c:ptCount val="20"/>
                <c:pt idx="0">
                  <c:v>1</c:v>
                </c:pt>
                <c:pt idx="1">
                  <c:v>2</c:v>
                </c:pt>
                <c:pt idx="2">
                  <c:v>2</c:v>
                </c:pt>
                <c:pt idx="3">
                  <c:v>1</c:v>
                </c:pt>
                <c:pt idx="4">
                  <c:v>4</c:v>
                </c:pt>
                <c:pt idx="5">
                  <c:v>1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CC2-4F84-AD90-DC145BD71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88975807"/>
        <c:axId val="794231311"/>
      </c:barChart>
      <c:catAx>
        <c:axId val="78897580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4231311"/>
        <c:crosses val="autoZero"/>
        <c:auto val="1"/>
        <c:lblAlgn val="ctr"/>
        <c:lblOffset val="100"/>
        <c:noMultiLvlLbl val="0"/>
      </c:catAx>
      <c:valAx>
        <c:axId val="794231311"/>
        <c:scaling>
          <c:orientation val="minMax"/>
        </c:scaling>
        <c:delete val="0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89758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6DA9916-5E6C-4D6D-A985-E6C00F0B5D9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BD703D9-AF9D-4CCE-8832-29F095A74F1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4EC6DB-F2BE-47F2-B7BA-FCF00AF40D10}" type="datetimeFigureOut">
              <a:rPr lang="en-US" smtClean="0"/>
              <a:t>3/1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13A1AE-E7BA-40C7-9D4E-864A68F6FF9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F437E5-CD84-4083-9937-5D84488B9DE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4AEEB9-CDD2-4C24-96B2-19A44D5C36C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90295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EED030-48CC-D340-A246-BA954A3A0B49}" type="datetimeFigureOut">
              <a:rPr lang="en-US" smtClean="0"/>
              <a:t>3/1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880130-CE8D-E640-9639-E0473270C6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9944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5.jp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emf"/><Relationship Id="rId5" Type="http://schemas.openxmlformats.org/officeDocument/2006/relationships/image" Target="../media/image4.emf"/><Relationship Id="rId10" Type="http://schemas.openxmlformats.org/officeDocument/2006/relationships/image" Target="../media/image3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5.jpg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5.jpg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1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17.jpg"/><Relationship Id="rId5" Type="http://schemas.openxmlformats.org/officeDocument/2006/relationships/image" Target="../media/image16.png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jpg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3.jpg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1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3.jpg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-up of several metal bars&#10;&#10;Description automatically generated">
            <a:extLst>
              <a:ext uri="{FF2B5EF4-FFF2-40B4-BE49-F238E27FC236}">
                <a16:creationId xmlns:a16="http://schemas.microsoft.com/office/drawing/2014/main" id="{FF0FCD6E-9151-9297-B55A-FE20EA2155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396" t="-46" r="20722" b="-2"/>
          <a:stretch/>
        </p:blipFill>
        <p:spPr>
          <a:xfrm>
            <a:off x="-15618" y="0"/>
            <a:ext cx="9159618" cy="6858000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66F7D4-492E-43AB-8EBD-78BC7D8792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99035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66F7D4-492E-43AB-8EBD-78BC7D879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9">
            <a:extLst>
              <a:ext uri="{FF2B5EF4-FFF2-40B4-BE49-F238E27FC236}">
                <a16:creationId xmlns:a16="http://schemas.microsoft.com/office/drawing/2014/main" id="{10968DDA-DBC8-6D65-A77F-9165359E39B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130467" y="6242743"/>
            <a:ext cx="1932807" cy="26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rgbClr val="D6412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limaxMolybdenum.com</a:t>
            </a:r>
          </a:p>
        </p:txBody>
      </p:sp>
      <p:pic>
        <p:nvPicPr>
          <p:cNvPr id="11" name="Picture 20">
            <a:extLst>
              <a:ext uri="{FF2B5EF4-FFF2-40B4-BE49-F238E27FC236}">
                <a16:creationId xmlns:a16="http://schemas.microsoft.com/office/drawing/2014/main" id="{FAF20D87-9EFA-C8F8-134C-215ADD9A511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3604106" y="5873175"/>
            <a:ext cx="582674" cy="584602"/>
          </a:xfrm>
          <a:prstGeom prst="rect">
            <a:avLst/>
          </a:prstGeom>
          <a:noFill/>
          <a:ln>
            <a:noFill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Graphic 29">
            <a:extLst>
              <a:ext uri="{FF2B5EF4-FFF2-40B4-BE49-F238E27FC236}">
                <a16:creationId xmlns:a16="http://schemas.microsoft.com/office/drawing/2014/main" id="{07373CB2-A4D4-F466-1A7E-6C01F8B2F7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4393476" y="6034841"/>
            <a:ext cx="1259660" cy="412780"/>
          </a:xfrm>
          <a:prstGeom prst="rect">
            <a:avLst/>
          </a:prstGeom>
          <a:noFill/>
          <a:ln>
            <a:noFill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13" descr="A black background with white letters&#10;&#10;Description automatically generated">
            <a:extLst>
              <a:ext uri="{FF2B5EF4-FFF2-40B4-BE49-F238E27FC236}">
                <a16:creationId xmlns:a16="http://schemas.microsoft.com/office/drawing/2014/main" id="{0865D398-ED61-5AA4-C194-7458C1C6092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50944" y="5986087"/>
            <a:ext cx="2833862" cy="500347"/>
          </a:xfrm>
          <a:prstGeom prst="rect">
            <a:avLst/>
          </a:prstGeom>
        </p:spPr>
      </p:pic>
      <p:pic>
        <p:nvPicPr>
          <p:cNvPr id="15" name="Picture 14" descr="A black sign with white text&#10;&#10;Description automatically generated">
            <a:extLst>
              <a:ext uri="{FF2B5EF4-FFF2-40B4-BE49-F238E27FC236}">
                <a16:creationId xmlns:a16="http://schemas.microsoft.com/office/drawing/2014/main" id="{E9786791-758F-F2DD-1C3A-621E069C3BE5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5859832" y="5873174"/>
            <a:ext cx="1067134" cy="583874"/>
          </a:xfrm>
          <a:prstGeom prst="rect">
            <a:avLst/>
          </a:prstGeom>
        </p:spPr>
      </p:pic>
      <p:pic>
        <p:nvPicPr>
          <p:cNvPr id="16" name="Picture 15" descr="A black and white logo&#10;&#10;Description automatically generated">
            <a:extLst>
              <a:ext uri="{FF2B5EF4-FFF2-40B4-BE49-F238E27FC236}">
                <a16:creationId xmlns:a16="http://schemas.microsoft.com/office/drawing/2014/main" id="{AF49A5D7-0733-B57F-868C-24406B817BA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66101" y="988611"/>
            <a:ext cx="4529315" cy="1752657"/>
          </a:xfrm>
          <a:prstGeom prst="rect">
            <a:avLst/>
          </a:prstGeom>
        </p:spPr>
      </p:pic>
      <p:sp>
        <p:nvSpPr>
          <p:cNvPr id="2" name="TextBox 2">
            <a:extLst>
              <a:ext uri="{FF2B5EF4-FFF2-40B4-BE49-F238E27FC236}">
                <a16:creationId xmlns:a16="http://schemas.microsoft.com/office/drawing/2014/main" id="{3818B640-AA16-07B6-7B68-5697AFA5AF97}"/>
              </a:ext>
            </a:extLst>
          </p:cNvPr>
          <p:cNvSpPr txBox="1"/>
          <p:nvPr userDrawn="1"/>
        </p:nvSpPr>
        <p:spPr>
          <a:xfrm>
            <a:off x="5646398" y="6465717"/>
            <a:ext cx="138132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i="1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</a:rPr>
              <a:t>All Operating Sites</a:t>
            </a:r>
            <a:endParaRPr lang="en-US" sz="900" i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69626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arge header -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371" y="1864530"/>
            <a:ext cx="6584307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100">
                <a:solidFill>
                  <a:srgbClr val="45688B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0371" y="2912882"/>
            <a:ext cx="7837325" cy="3071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8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65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5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135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12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CABDAB8-DFF4-6118-F138-A4EFE437B775}"/>
              </a:ext>
            </a:extLst>
          </p:cNvPr>
          <p:cNvSpPr>
            <a:spLocks/>
          </p:cNvSpPr>
          <p:nvPr userDrawn="1"/>
        </p:nvSpPr>
        <p:spPr>
          <a:xfrm rot="10800000" flipV="1">
            <a:off x="445912" y="2620750"/>
            <a:ext cx="8292734" cy="48714"/>
          </a:xfrm>
          <a:prstGeom prst="rect">
            <a:avLst/>
          </a:prstGeom>
          <a:gradFill flip="none" rotWithShape="1">
            <a:gsLst>
              <a:gs pos="40000">
                <a:srgbClr val="869FB5"/>
              </a:gs>
              <a:gs pos="0">
                <a:srgbClr val="45688B"/>
              </a:gs>
              <a:gs pos="99083">
                <a:srgbClr val="2E465E"/>
              </a:gs>
              <a:gs pos="67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E631910-4DDE-C48C-ED97-975C3AD61DDC}"/>
              </a:ext>
            </a:extLst>
          </p:cNvPr>
          <p:cNvGrpSpPr/>
          <p:nvPr userDrawn="1"/>
        </p:nvGrpSpPr>
        <p:grpSpPr>
          <a:xfrm>
            <a:off x="0" y="3797"/>
            <a:ext cx="9141618" cy="1621523"/>
            <a:chOff x="0" y="3797"/>
            <a:chExt cx="9141618" cy="1621523"/>
          </a:xfrm>
        </p:grpSpPr>
        <p:pic>
          <p:nvPicPr>
            <p:cNvPr id="14" name="Picture 13" descr="A close-up of several metal bars&#10;&#10;Description automatically generated">
              <a:extLst>
                <a:ext uri="{FF2B5EF4-FFF2-40B4-BE49-F238E27FC236}">
                  <a16:creationId xmlns:a16="http://schemas.microsoft.com/office/drawing/2014/main" id="{67D245A9-2E4B-6186-B15A-1A5ECCE4E7D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/>
            <a:srcRect l="15063" t="6591" r="4949" b="69686"/>
            <a:stretch/>
          </p:blipFill>
          <p:spPr>
            <a:xfrm>
              <a:off x="0" y="3797"/>
              <a:ext cx="9141618" cy="1621523"/>
            </a:xfrm>
            <a:prstGeom prst="rect">
              <a:avLst/>
            </a:prstGeo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0" name="Picture 9" descr="A black background with white letters&#10;&#10;Description automatically generated">
              <a:extLst>
                <a:ext uri="{FF2B5EF4-FFF2-40B4-BE49-F238E27FC236}">
                  <a16:creationId xmlns:a16="http://schemas.microsoft.com/office/drawing/2014/main" id="{6398CDD8-F9AF-F7FF-75FC-C854FEB9A7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351389" y="925170"/>
              <a:ext cx="2375277" cy="419378"/>
            </a:xfrm>
            <a:prstGeom prst="rect">
              <a:avLst/>
            </a:prstGeom>
          </p:spPr>
        </p:pic>
        <p:pic>
          <p:nvPicPr>
            <p:cNvPr id="12" name="Picture 11" descr="A black and white logo&#10;&#10;Description automatically generated">
              <a:extLst>
                <a:ext uri="{FF2B5EF4-FFF2-40B4-BE49-F238E27FC236}">
                  <a16:creationId xmlns:a16="http://schemas.microsoft.com/office/drawing/2014/main" id="{E2A6C8BF-73B8-BD01-0911-6BA187A4668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345416" y="469455"/>
              <a:ext cx="2601664" cy="10067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222977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large header -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371" y="1864530"/>
            <a:ext cx="6584307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100">
                <a:solidFill>
                  <a:srgbClr val="45688B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0372" y="3048450"/>
            <a:ext cx="3879462" cy="3071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8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65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5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135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12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CABDAB8-DFF4-6118-F138-A4EFE437B775}"/>
              </a:ext>
            </a:extLst>
          </p:cNvPr>
          <p:cNvSpPr>
            <a:spLocks/>
          </p:cNvSpPr>
          <p:nvPr userDrawn="1"/>
        </p:nvSpPr>
        <p:spPr>
          <a:xfrm rot="10800000">
            <a:off x="445913" y="2669464"/>
            <a:ext cx="7837325" cy="46039"/>
          </a:xfrm>
          <a:prstGeom prst="rect">
            <a:avLst/>
          </a:prstGeom>
          <a:gradFill flip="none" rotWithShape="1">
            <a:gsLst>
              <a:gs pos="40000">
                <a:srgbClr val="869FB5"/>
              </a:gs>
              <a:gs pos="0">
                <a:srgbClr val="45688B"/>
              </a:gs>
              <a:gs pos="99083">
                <a:srgbClr val="2E465E"/>
              </a:gs>
              <a:gs pos="67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8DB311D-C789-65AC-EF8F-69823963392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824168" y="3043155"/>
            <a:ext cx="3879462" cy="3071059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8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65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5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135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12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4" name="Picture 13" descr="A close-up of several metal bars&#10;&#10;Description automatically generated">
            <a:extLst>
              <a:ext uri="{FF2B5EF4-FFF2-40B4-BE49-F238E27FC236}">
                <a16:creationId xmlns:a16="http://schemas.microsoft.com/office/drawing/2014/main" id="{9AA4FFA3-1D67-5659-6061-7CAEC107B1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15063" t="6591" r="4949" b="69686"/>
          <a:stretch/>
        </p:blipFill>
        <p:spPr>
          <a:xfrm>
            <a:off x="0" y="3797"/>
            <a:ext cx="9141618" cy="1621523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15" descr="A black background with white letters&#10;&#10;Description automatically generated">
            <a:extLst>
              <a:ext uri="{FF2B5EF4-FFF2-40B4-BE49-F238E27FC236}">
                <a16:creationId xmlns:a16="http://schemas.microsoft.com/office/drawing/2014/main" id="{0B7A3BAC-0099-4BB5-EE1D-765D4405B45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351389" y="925170"/>
            <a:ext cx="2375277" cy="419378"/>
          </a:xfrm>
          <a:prstGeom prst="rect">
            <a:avLst/>
          </a:prstGeom>
        </p:spPr>
      </p:pic>
      <p:pic>
        <p:nvPicPr>
          <p:cNvPr id="17" name="Picture 16" descr="A black and white logo&#10;&#10;Description automatically generated">
            <a:extLst>
              <a:ext uri="{FF2B5EF4-FFF2-40B4-BE49-F238E27FC236}">
                <a16:creationId xmlns:a16="http://schemas.microsoft.com/office/drawing/2014/main" id="{68D1D48B-0D42-9E6F-B0A7-2FFDB989B7D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45416" y="469455"/>
            <a:ext cx="2601664" cy="1006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6043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6E4DF639-9346-9AC8-5586-B8920E74461D}"/>
              </a:ext>
            </a:extLst>
          </p:cNvPr>
          <p:cNvSpPr/>
          <p:nvPr userDrawn="1"/>
        </p:nvSpPr>
        <p:spPr>
          <a:xfrm>
            <a:off x="0" y="1272730"/>
            <a:ext cx="9144000" cy="1605564"/>
          </a:xfrm>
          <a:prstGeom prst="rect">
            <a:avLst/>
          </a:prstGeom>
          <a:solidFill>
            <a:schemeClr val="bg1">
              <a:lumMod val="8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>
              <a:latin typeface="+mj-lt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5465" y="417149"/>
            <a:ext cx="6584307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320" y="1362492"/>
            <a:ext cx="4188587" cy="1258941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2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05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90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825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9C821558-15FD-4FA4-5419-7DF2F44759E8}"/>
              </a:ext>
            </a:extLst>
          </p:cNvPr>
          <p:cNvCxnSpPr>
            <a:cxnSpLocks/>
          </p:cNvCxnSpPr>
          <p:nvPr userDrawn="1"/>
        </p:nvCxnSpPr>
        <p:spPr>
          <a:xfrm>
            <a:off x="758901" y="4948280"/>
            <a:ext cx="0" cy="42279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670F1A7-9A8C-6B62-65DF-56D3BAB8AC59}"/>
              </a:ext>
            </a:extLst>
          </p:cNvPr>
          <p:cNvCxnSpPr>
            <a:cxnSpLocks/>
          </p:cNvCxnSpPr>
          <p:nvPr userDrawn="1"/>
        </p:nvCxnSpPr>
        <p:spPr>
          <a:xfrm flipH="1">
            <a:off x="2116827" y="3309168"/>
            <a:ext cx="4910346" cy="14028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BF20102-D0F0-E3BC-56BC-87082D79332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73359" y="6507850"/>
            <a:ext cx="5522983" cy="28906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825" b="0">
                <a:solidFill>
                  <a:schemeClr val="tx1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485CA40-9038-9F4E-8EA2-DFFDAA489F3F}"/>
              </a:ext>
            </a:extLst>
          </p:cNvPr>
          <p:cNvSpPr/>
          <p:nvPr userDrawn="1"/>
        </p:nvSpPr>
        <p:spPr>
          <a:xfrm>
            <a:off x="116983" y="5122546"/>
            <a:ext cx="1283835" cy="961292"/>
          </a:xfrm>
          <a:prstGeom prst="rect">
            <a:avLst/>
          </a:prstGeom>
          <a:solidFill>
            <a:srgbClr val="E7EC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200" dirty="0">
              <a:latin typeface="+mj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1F187C7-770A-9CD6-3189-C8888E2CACAB}"/>
              </a:ext>
            </a:extLst>
          </p:cNvPr>
          <p:cNvSpPr/>
          <p:nvPr userDrawn="1"/>
        </p:nvSpPr>
        <p:spPr>
          <a:xfrm>
            <a:off x="3504604" y="2723651"/>
            <a:ext cx="2134792" cy="1185065"/>
          </a:xfrm>
          <a:prstGeom prst="rect">
            <a:avLst/>
          </a:prstGeom>
          <a:solidFill>
            <a:srgbClr val="2E4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200" dirty="0">
              <a:latin typeface="+mj-lt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935CE15C-B3DB-0437-FA6F-4C85CE7BD3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5116" y="2893000"/>
            <a:ext cx="1933769" cy="846367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6534642-FD7A-0B7A-C470-7F6E222A902B}"/>
              </a:ext>
            </a:extLst>
          </p:cNvPr>
          <p:cNvCxnSpPr>
            <a:cxnSpLocks/>
          </p:cNvCxnSpPr>
          <p:nvPr userDrawn="1"/>
        </p:nvCxnSpPr>
        <p:spPr>
          <a:xfrm>
            <a:off x="2115820" y="3319674"/>
            <a:ext cx="0" cy="1944745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7AD6926C-1404-7DC4-C566-1B99CDFE4449}"/>
              </a:ext>
            </a:extLst>
          </p:cNvPr>
          <p:cNvSpPr/>
          <p:nvPr userDrawn="1"/>
        </p:nvSpPr>
        <p:spPr>
          <a:xfrm>
            <a:off x="981611" y="3745988"/>
            <a:ext cx="2268416" cy="961292"/>
          </a:xfrm>
          <a:prstGeom prst="rect">
            <a:avLst/>
          </a:prstGeom>
          <a:solidFill>
            <a:srgbClr val="4568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200">
              <a:latin typeface="+mj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9956CDB-6E00-6F08-168B-F6DCA5A8A3E6}"/>
              </a:ext>
            </a:extLst>
          </p:cNvPr>
          <p:cNvSpPr/>
          <p:nvPr userDrawn="1"/>
        </p:nvSpPr>
        <p:spPr>
          <a:xfrm>
            <a:off x="1473901" y="5122546"/>
            <a:ext cx="1283835" cy="961292"/>
          </a:xfrm>
          <a:prstGeom prst="rect">
            <a:avLst/>
          </a:prstGeom>
          <a:solidFill>
            <a:srgbClr val="E7EC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200" dirty="0">
              <a:latin typeface="+mj-lt"/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EF3E7E51-BE08-AADC-4822-5CB444E1DDD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100739" y="3799356"/>
            <a:ext cx="2030161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F84EC982-1107-A78F-8D86-C9507AF9A7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0599" y="5196483"/>
            <a:ext cx="1156606" cy="813418"/>
          </a:xfrm>
          <a:prstGeom prst="rect">
            <a:avLst/>
          </a:prstGeom>
          <a:solidFill>
            <a:srgbClr val="E7ECF0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AD5915C6-21BB-C504-054C-CF0CFD786D3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519726" y="5196483"/>
            <a:ext cx="1156606" cy="813418"/>
          </a:xfrm>
          <a:prstGeom prst="rect">
            <a:avLst/>
          </a:prstGeom>
          <a:solidFill>
            <a:srgbClr val="E7ECF0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E3760F9-96EC-42BE-A707-74DA4B1BA13B}"/>
              </a:ext>
            </a:extLst>
          </p:cNvPr>
          <p:cNvCxnSpPr>
            <a:cxnSpLocks/>
          </p:cNvCxnSpPr>
          <p:nvPr userDrawn="1"/>
        </p:nvCxnSpPr>
        <p:spPr>
          <a:xfrm flipH="1">
            <a:off x="758901" y="4960414"/>
            <a:ext cx="2708348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DAC60B0-9F47-F52B-F52E-66BE64910B2A}"/>
              </a:ext>
            </a:extLst>
          </p:cNvPr>
          <p:cNvCxnSpPr>
            <a:cxnSpLocks/>
          </p:cNvCxnSpPr>
          <p:nvPr userDrawn="1"/>
        </p:nvCxnSpPr>
        <p:spPr>
          <a:xfrm>
            <a:off x="3467248" y="4948280"/>
            <a:ext cx="0" cy="42279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626C804-0F84-D9FE-8B7E-01577F486857}"/>
              </a:ext>
            </a:extLst>
          </p:cNvPr>
          <p:cNvSpPr/>
          <p:nvPr userDrawn="1"/>
        </p:nvSpPr>
        <p:spPr>
          <a:xfrm>
            <a:off x="2825331" y="5122546"/>
            <a:ext cx="1283835" cy="961292"/>
          </a:xfrm>
          <a:prstGeom prst="rect">
            <a:avLst/>
          </a:prstGeom>
          <a:solidFill>
            <a:srgbClr val="E7EC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200" dirty="0">
              <a:latin typeface="+mj-lt"/>
            </a:endParaRP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ECEB8B21-BFF2-F3F8-56CE-6379E91F9A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888946" y="5196483"/>
            <a:ext cx="1156606" cy="813418"/>
          </a:xfrm>
          <a:prstGeom prst="rect">
            <a:avLst/>
          </a:prstGeom>
          <a:solidFill>
            <a:srgbClr val="E7ECF0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D6A4E82-26BE-B07E-A1D4-A3968F3CAA9C}"/>
              </a:ext>
            </a:extLst>
          </p:cNvPr>
          <p:cNvCxnSpPr>
            <a:cxnSpLocks/>
          </p:cNvCxnSpPr>
          <p:nvPr userDrawn="1"/>
        </p:nvCxnSpPr>
        <p:spPr>
          <a:xfrm>
            <a:off x="5664426" y="4949116"/>
            <a:ext cx="0" cy="422796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CB98291C-CC22-7BA1-6161-5473BCEA842D}"/>
              </a:ext>
            </a:extLst>
          </p:cNvPr>
          <p:cNvSpPr/>
          <p:nvPr userDrawn="1"/>
        </p:nvSpPr>
        <p:spPr>
          <a:xfrm>
            <a:off x="5022508" y="5123382"/>
            <a:ext cx="1283835" cy="961292"/>
          </a:xfrm>
          <a:prstGeom prst="rect">
            <a:avLst/>
          </a:prstGeom>
          <a:solidFill>
            <a:srgbClr val="E7EC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200" dirty="0">
              <a:latin typeface="+mj-lt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2581B9F-0FD8-F84E-2EF6-334A56CF16E1}"/>
              </a:ext>
            </a:extLst>
          </p:cNvPr>
          <p:cNvCxnSpPr>
            <a:cxnSpLocks/>
          </p:cNvCxnSpPr>
          <p:nvPr userDrawn="1"/>
        </p:nvCxnSpPr>
        <p:spPr>
          <a:xfrm>
            <a:off x="7018988" y="3320510"/>
            <a:ext cx="0" cy="1944745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893E619B-4460-1B17-C65A-0F9374039806}"/>
              </a:ext>
            </a:extLst>
          </p:cNvPr>
          <p:cNvSpPr/>
          <p:nvPr userDrawn="1"/>
        </p:nvSpPr>
        <p:spPr>
          <a:xfrm>
            <a:off x="5887136" y="3746824"/>
            <a:ext cx="2268416" cy="961292"/>
          </a:xfrm>
          <a:prstGeom prst="rect">
            <a:avLst/>
          </a:prstGeom>
          <a:solidFill>
            <a:srgbClr val="4568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200">
              <a:latin typeface="+mj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12244E2-1446-C44D-64CC-44BA780136EE}"/>
              </a:ext>
            </a:extLst>
          </p:cNvPr>
          <p:cNvSpPr/>
          <p:nvPr userDrawn="1"/>
        </p:nvSpPr>
        <p:spPr>
          <a:xfrm>
            <a:off x="6386497" y="5123382"/>
            <a:ext cx="1283835" cy="961292"/>
          </a:xfrm>
          <a:prstGeom prst="rect">
            <a:avLst/>
          </a:prstGeom>
          <a:solidFill>
            <a:srgbClr val="E7EC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1200" dirty="0">
              <a:latin typeface="+mj-lt"/>
            </a:endParaRP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1E902119-526E-11E2-2BB4-05838377C2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06264" y="3800192"/>
            <a:ext cx="2030161" cy="813418"/>
          </a:xfrm>
          <a:prstGeom prst="rect">
            <a:avLst/>
          </a:prstGeom>
        </p:spPr>
        <p:txBody>
          <a:bodyPr numCol="1" anchor="ctr">
            <a:noAutofit/>
          </a:bodyPr>
          <a:lstStyle>
            <a:lvl1pPr marL="0" indent="0" algn="ctr">
              <a:buNone/>
              <a:defRPr sz="1200" b="1">
                <a:solidFill>
                  <a:schemeClr val="bg1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9B88D6BF-3AA5-B3D6-4361-F0180CEF400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86124" y="5197319"/>
            <a:ext cx="1156606" cy="813418"/>
          </a:xfrm>
          <a:prstGeom prst="rect">
            <a:avLst/>
          </a:prstGeom>
          <a:solidFill>
            <a:srgbClr val="E7ECF0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2DA6A443-80F8-BDFE-F488-C8764E6284D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32321" y="5197319"/>
            <a:ext cx="1156606" cy="813418"/>
          </a:xfrm>
          <a:prstGeom prst="rect">
            <a:avLst/>
          </a:prstGeom>
          <a:solidFill>
            <a:srgbClr val="E7ECF0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380C29C-01A5-F2AA-3528-E3D1FA463438}"/>
              </a:ext>
            </a:extLst>
          </p:cNvPr>
          <p:cNvCxnSpPr>
            <a:cxnSpLocks/>
          </p:cNvCxnSpPr>
          <p:nvPr userDrawn="1"/>
        </p:nvCxnSpPr>
        <p:spPr>
          <a:xfrm flipH="1">
            <a:off x="5664426" y="4961250"/>
            <a:ext cx="2708348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9098F304-2966-9B2C-D0C5-066D69773039}"/>
              </a:ext>
            </a:extLst>
          </p:cNvPr>
          <p:cNvCxnSpPr>
            <a:cxnSpLocks/>
          </p:cNvCxnSpPr>
          <p:nvPr userDrawn="1"/>
        </p:nvCxnSpPr>
        <p:spPr>
          <a:xfrm>
            <a:off x="8372773" y="4949116"/>
            <a:ext cx="0" cy="422796"/>
          </a:xfrm>
          <a:prstGeom prst="line">
            <a:avLst/>
          </a:prstGeom>
          <a:ln w="19050">
            <a:solidFill>
              <a:srgbClr val="3954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8C0FDE88-08F2-1384-9B9A-752E8DC273C9}"/>
              </a:ext>
            </a:extLst>
          </p:cNvPr>
          <p:cNvSpPr/>
          <p:nvPr userDrawn="1"/>
        </p:nvSpPr>
        <p:spPr>
          <a:xfrm>
            <a:off x="7730856" y="5123382"/>
            <a:ext cx="1283835" cy="961292"/>
          </a:xfrm>
          <a:prstGeom prst="rect">
            <a:avLst/>
          </a:prstGeom>
          <a:solidFill>
            <a:srgbClr val="E7EC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>
              <a:latin typeface="+mj-lt"/>
            </a:endParaRP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E34E741C-9DF0-0FEE-3BD0-AE4D21466A0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794471" y="5197319"/>
            <a:ext cx="1144303" cy="813418"/>
          </a:xfrm>
          <a:prstGeom prst="rect">
            <a:avLst/>
          </a:prstGeom>
          <a:solidFill>
            <a:srgbClr val="E7ECF0"/>
          </a:solidFill>
        </p:spPr>
        <p:txBody>
          <a:bodyPr numCol="1" anchor="ctr">
            <a:noAutofit/>
          </a:bodyPr>
          <a:lstStyle>
            <a:lvl1pPr marL="0" indent="0" algn="ctr">
              <a:buNone/>
              <a:defRPr sz="1200" b="0">
                <a:solidFill>
                  <a:schemeClr val="tx1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146B3DF0-438B-0620-A62E-F05AB3AEB5C3}"/>
              </a:ext>
            </a:extLst>
          </p:cNvPr>
          <p:cNvSpPr>
            <a:spLocks noGrp="1"/>
          </p:cNvSpPr>
          <p:nvPr>
            <p:ph idx="29"/>
          </p:nvPr>
        </p:nvSpPr>
        <p:spPr>
          <a:xfrm>
            <a:off x="4621095" y="1362492"/>
            <a:ext cx="4416790" cy="1258941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2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05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90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825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22181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6E4DF639-9346-9AC8-5586-B8920E74461D}"/>
              </a:ext>
            </a:extLst>
          </p:cNvPr>
          <p:cNvSpPr/>
          <p:nvPr userDrawn="1"/>
        </p:nvSpPr>
        <p:spPr>
          <a:xfrm>
            <a:off x="0" y="1197204"/>
            <a:ext cx="9144000" cy="1150070"/>
          </a:xfrm>
          <a:prstGeom prst="rect">
            <a:avLst/>
          </a:prstGeom>
          <a:solidFill>
            <a:srgbClr val="869FB5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>
              <a:latin typeface="+mj-lt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319" y="304025"/>
            <a:ext cx="6584307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320" y="2453643"/>
            <a:ext cx="4188587" cy="299505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8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5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35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120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105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4BF20102-D0F0-E3BC-56BC-87082D79332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73359" y="6507850"/>
            <a:ext cx="5522983" cy="28906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825" b="0">
                <a:solidFill>
                  <a:schemeClr val="tx1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146B3DF0-438B-0620-A62E-F05AB3AEB5C3}"/>
              </a:ext>
            </a:extLst>
          </p:cNvPr>
          <p:cNvSpPr>
            <a:spLocks noGrp="1"/>
          </p:cNvSpPr>
          <p:nvPr>
            <p:ph idx="29"/>
          </p:nvPr>
        </p:nvSpPr>
        <p:spPr>
          <a:xfrm>
            <a:off x="4621095" y="2453643"/>
            <a:ext cx="4416790" cy="299505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8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5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35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120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105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6301330D-DE87-12B9-8A22-DF3FBED01A9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34320" y="1557559"/>
            <a:ext cx="5522983" cy="504887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1800" b="1">
                <a:solidFill>
                  <a:srgbClr val="45688B"/>
                </a:solidFill>
                <a:effectLst/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5152314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1DAB44-3933-4383-A7E8-C2260715D422}"/>
              </a:ext>
            </a:extLst>
          </p:cNvPr>
          <p:cNvSpPr/>
          <p:nvPr userDrawn="1"/>
        </p:nvSpPr>
        <p:spPr>
          <a:xfrm>
            <a:off x="0" y="-41565"/>
            <a:ext cx="8930666" cy="69037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>
              <a:latin typeface="+mj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B74A30A-ED28-C5D9-80DB-D1831070D7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6730" r="6836"/>
          <a:stretch/>
        </p:blipFill>
        <p:spPr>
          <a:xfrm rot="5400000">
            <a:off x="5119004" y="2838210"/>
            <a:ext cx="6924033" cy="1132168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C39D67-BBE6-4ABD-AC6C-64B022DEB0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36085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3C39D67-BBE6-4ABD-AC6C-64B022DEB0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60048B-215C-2742-B3BD-2C887A2EE1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474922" y="217232"/>
            <a:ext cx="6259953" cy="6254342"/>
          </a:xfrm>
          <a:prstGeom prst="rect">
            <a:avLst/>
          </a:prstGeom>
        </p:spPr>
        <p:txBody>
          <a:bodyPr vert="eaVert">
            <a:noAutofit/>
          </a:bodyPr>
          <a:lstStyle>
            <a:lvl1pPr>
              <a:defRPr sz="1800">
                <a:solidFill>
                  <a:schemeClr val="tx1"/>
                </a:solidFill>
                <a:latin typeface="+mj-lt"/>
              </a:defRPr>
            </a:lvl1pPr>
            <a:lvl2pPr marL="471488" indent="-257175">
              <a:buClr>
                <a:srgbClr val="005DAB"/>
              </a:buClr>
              <a:defRPr lang="en-US" sz="165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603647" indent="-257175">
              <a:buClr>
                <a:srgbClr val="005DAB"/>
              </a:buClr>
              <a:buFont typeface="Courier New" panose="02070309020205020404" pitchFamily="49" charset="0"/>
              <a:buChar char="o"/>
              <a:defRPr lang="en-US" sz="15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773906" indent="-257175">
              <a:buClr>
                <a:srgbClr val="005DAB"/>
              </a:buClr>
              <a:defRPr lang="en-US" sz="135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>
              <a:buClr>
                <a:srgbClr val="005DAB"/>
              </a:buCl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56771AEE-C76D-499A-99C6-64134E39A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6259612" y="2050546"/>
            <a:ext cx="4487159" cy="6688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888420E-A35D-2CFE-2B8E-3923F03E2346}"/>
              </a:ext>
            </a:extLst>
          </p:cNvPr>
          <p:cNvSpPr txBox="1">
            <a:spLocks/>
          </p:cNvSpPr>
          <p:nvPr userDrawn="1"/>
        </p:nvSpPr>
        <p:spPr>
          <a:xfrm rot="5400000">
            <a:off x="-214976" y="6636022"/>
            <a:ext cx="598419" cy="26952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511F1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A545FE2-DEF4-4BC2-9058-BF1DA4AEB4E3}" type="slidenum">
              <a:rPr lang="en-US" sz="750" smtClean="0"/>
              <a:pPr/>
              <a:t>‹#›</a:t>
            </a:fld>
            <a:endParaRPr lang="en-US" sz="750" dirty="0"/>
          </a:p>
        </p:txBody>
      </p:sp>
      <p:pic>
        <p:nvPicPr>
          <p:cNvPr id="7" name="Picture 6" descr="A black background with white letters&#10;&#10;Description automatically generated">
            <a:extLst>
              <a:ext uri="{FF2B5EF4-FFF2-40B4-BE49-F238E27FC236}">
                <a16:creationId xmlns:a16="http://schemas.microsoft.com/office/drawing/2014/main" id="{D600F9BB-A801-A089-C12E-C0C8B9496BF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5400000">
            <a:off x="8105759" y="4297873"/>
            <a:ext cx="1690030" cy="298391"/>
          </a:xfrm>
          <a:prstGeom prst="rect">
            <a:avLst/>
          </a:prstGeom>
        </p:spPr>
      </p:pic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093BA9BF-0FEA-A45E-22FA-C6021B4DEDC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5400000">
            <a:off x="7876160" y="5942747"/>
            <a:ext cx="1265458" cy="489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0718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appendix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B10529-FBDC-4621-8DD5-517C7CBDC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82104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9B10529-FBDC-4621-8DD5-517C7CBDC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 descr="Text&#10;&#10;Description automatically generated with medium confidence">
            <a:extLst>
              <a:ext uri="{FF2B5EF4-FFF2-40B4-BE49-F238E27FC236}">
                <a16:creationId xmlns:a16="http://schemas.microsoft.com/office/drawing/2014/main" id="{0D2C76B0-8A4A-4935-AB9E-8457605F325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4909" y="5790141"/>
            <a:ext cx="2252725" cy="844772"/>
          </a:xfrm>
          <a:prstGeom prst="rect">
            <a:avLst/>
          </a:prstGeom>
        </p:spPr>
      </p:pic>
      <p:grpSp>
        <p:nvGrpSpPr>
          <p:cNvPr id="29" name="Group 28">
            <a:extLst>
              <a:ext uri="{FF2B5EF4-FFF2-40B4-BE49-F238E27FC236}">
                <a16:creationId xmlns:a16="http://schemas.microsoft.com/office/drawing/2014/main" id="{5189D5A3-AE35-40D8-AF42-34B1E9466F99}"/>
              </a:ext>
            </a:extLst>
          </p:cNvPr>
          <p:cNvGrpSpPr/>
          <p:nvPr userDrawn="1"/>
        </p:nvGrpSpPr>
        <p:grpSpPr>
          <a:xfrm>
            <a:off x="-8383" y="0"/>
            <a:ext cx="9152383" cy="6858000"/>
            <a:chOff x="-8383" y="0"/>
            <a:chExt cx="9152383" cy="6858000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3DA4D8A-1C1C-4C01-B4D7-4BAD698EFC34}"/>
                </a:ext>
              </a:extLst>
            </p:cNvPr>
            <p:cNvSpPr/>
            <p:nvPr userDrawn="1"/>
          </p:nvSpPr>
          <p:spPr>
            <a:xfrm>
              <a:off x="175491" y="0"/>
              <a:ext cx="8968509" cy="131329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1" name="Picture 30" descr="A close up of a wood surface&#10;&#10;Description automatically generated with low confidence">
              <a:extLst>
                <a:ext uri="{FF2B5EF4-FFF2-40B4-BE49-F238E27FC236}">
                  <a16:creationId xmlns:a16="http://schemas.microsoft.com/office/drawing/2014/main" id="{E01C4E6A-F310-4FC1-A6D7-38964810DF3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55" t="1225" r="22187" b="52375"/>
            <a:stretch/>
          </p:blipFill>
          <p:spPr>
            <a:xfrm rot="10800000" flipH="1">
              <a:off x="-8383" y="0"/>
              <a:ext cx="626320" cy="6858000"/>
            </a:xfrm>
            <a:prstGeom prst="rect">
              <a:avLst/>
            </a:prstGeom>
          </p:spPr>
        </p:pic>
        <p:pic>
          <p:nvPicPr>
            <p:cNvPr id="32" name="Picture 31" descr="Logo&#10;&#10;Description automatically generated with medium confidence">
              <a:extLst>
                <a:ext uri="{FF2B5EF4-FFF2-40B4-BE49-F238E27FC236}">
                  <a16:creationId xmlns:a16="http://schemas.microsoft.com/office/drawing/2014/main" id="{70DDEB28-0E8D-469A-B4CF-4653C995ECD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t="6973" b="4485"/>
            <a:stretch/>
          </p:blipFill>
          <p:spPr>
            <a:xfrm>
              <a:off x="810346" y="1914950"/>
              <a:ext cx="3274142" cy="1218634"/>
            </a:xfrm>
            <a:prstGeom prst="rect">
              <a:avLst/>
            </a:prstGeom>
          </p:spPr>
        </p:pic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8838BAD-8AB4-4A8A-9379-E9F8F6327820}"/>
              </a:ext>
            </a:extLst>
          </p:cNvPr>
          <p:cNvCxnSpPr>
            <a:cxnSpLocks/>
          </p:cNvCxnSpPr>
          <p:nvPr userDrawn="1"/>
        </p:nvCxnSpPr>
        <p:spPr>
          <a:xfrm>
            <a:off x="4276894" y="1440589"/>
            <a:ext cx="0" cy="2167357"/>
          </a:xfrm>
          <a:prstGeom prst="line">
            <a:avLst/>
          </a:prstGeom>
          <a:ln>
            <a:solidFill>
              <a:srgbClr val="3676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itle 1">
            <a:extLst>
              <a:ext uri="{FF2B5EF4-FFF2-40B4-BE49-F238E27FC236}">
                <a16:creationId xmlns:a16="http://schemas.microsoft.com/office/drawing/2014/main" id="{4FDD1E2D-BB2B-4239-A4C5-B675E66B42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16585" y="1440589"/>
            <a:ext cx="4368799" cy="2167357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000" b="1" i="0" kern="12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Appendix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F6F1A4D-4E58-4865-AF8D-418B2FE3EA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19752" y="6577563"/>
            <a:ext cx="824248" cy="280436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9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122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White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-up of several metal bars&#10;&#10;Description automatically generated">
            <a:extLst>
              <a:ext uri="{FF2B5EF4-FFF2-40B4-BE49-F238E27FC236}">
                <a16:creationId xmlns:a16="http://schemas.microsoft.com/office/drawing/2014/main" id="{398F7C34-59B2-5398-EFED-01914810FB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883" t="12495" r="16303" b="22253"/>
          <a:stretch/>
        </p:blipFill>
        <p:spPr>
          <a:xfrm>
            <a:off x="-6191" y="0"/>
            <a:ext cx="9150191" cy="4093986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66F7D4-492E-43AB-8EBD-78BC7D8792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99035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66F7D4-492E-43AB-8EBD-78BC7D879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19">
            <a:extLst>
              <a:ext uri="{FF2B5EF4-FFF2-40B4-BE49-F238E27FC236}">
                <a16:creationId xmlns:a16="http://schemas.microsoft.com/office/drawing/2014/main" id="{B332FC75-8C9E-45F4-879D-39F6AAC1E66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470861" y="4361827"/>
            <a:ext cx="2463270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rgbClr val="D6412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Clr>
                <a:srgbClr val="D64123"/>
              </a:buClr>
              <a:buFont typeface="System Font Regular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000" dirty="0">
                <a:solidFill>
                  <a:srgbClr val="5E5E5E"/>
                </a:solidFill>
              </a:rPr>
              <a:t>ClimaxMolybdenum.com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23BE7A0-4F49-FE60-B13A-A8BE27BD716B}"/>
              </a:ext>
            </a:extLst>
          </p:cNvPr>
          <p:cNvSpPr/>
          <p:nvPr userDrawn="1"/>
        </p:nvSpPr>
        <p:spPr>
          <a:xfrm>
            <a:off x="6477132" y="3683728"/>
            <a:ext cx="2463271" cy="6111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633193A8-9581-19DB-8540-F4B06DFBA35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79537" y="1199584"/>
            <a:ext cx="4529315" cy="1752657"/>
          </a:xfrm>
          <a:prstGeom prst="rect">
            <a:avLst/>
          </a:prstGeom>
        </p:spPr>
      </p:pic>
      <p:pic>
        <p:nvPicPr>
          <p:cNvPr id="15" name="Picture 14" descr="A blue and black logo&#10;&#10;Description automatically generated">
            <a:extLst>
              <a:ext uri="{FF2B5EF4-FFF2-40B4-BE49-F238E27FC236}">
                <a16:creationId xmlns:a16="http://schemas.microsoft.com/office/drawing/2014/main" id="{795354F0-40B9-5BBD-1E99-8AF82B48447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539534" y="3740862"/>
            <a:ext cx="2280667" cy="563831"/>
          </a:xfrm>
          <a:prstGeom prst="rect">
            <a:avLst/>
          </a:prstGeom>
        </p:spPr>
      </p:pic>
      <p:pic>
        <p:nvPicPr>
          <p:cNvPr id="2" name="Picture 8" descr="Shape&#10;&#10;Description automatically generated with low confidence">
            <a:extLst>
              <a:ext uri="{FF2B5EF4-FFF2-40B4-BE49-F238E27FC236}">
                <a16:creationId xmlns:a16="http://schemas.microsoft.com/office/drawing/2014/main" id="{B1927388-C2D5-D7BB-EF14-C8167A0FB8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9534" y="5902188"/>
            <a:ext cx="436706" cy="439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phic 9">
            <a:extLst>
              <a:ext uri="{FF2B5EF4-FFF2-40B4-BE49-F238E27FC236}">
                <a16:creationId xmlns:a16="http://schemas.microsoft.com/office/drawing/2014/main" id="{25F530B7-FD48-73A4-5D04-B57529A9EC0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145926" y="5998168"/>
            <a:ext cx="895174" cy="293443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C95FA07-7AC1-63DF-1AC2-35BE411949DB}"/>
              </a:ext>
            </a:extLst>
          </p:cNvPr>
          <p:cNvCxnSpPr>
            <a:cxnSpLocks/>
          </p:cNvCxnSpPr>
          <p:nvPr userDrawn="1"/>
        </p:nvCxnSpPr>
        <p:spPr>
          <a:xfrm>
            <a:off x="6470861" y="5775467"/>
            <a:ext cx="2481558" cy="0"/>
          </a:xfrm>
          <a:prstGeom prst="line">
            <a:avLst/>
          </a:prstGeom>
          <a:ln w="15875">
            <a:solidFill>
              <a:srgbClr val="005D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 white rectangular sign with black text&#10;&#10;Description automatically generated">
            <a:extLst>
              <a:ext uri="{FF2B5EF4-FFF2-40B4-BE49-F238E27FC236}">
                <a16:creationId xmlns:a16="http://schemas.microsoft.com/office/drawing/2014/main" id="{646B1AF7-6731-EC17-F373-3A30B56ECB7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8173039" y="5921086"/>
            <a:ext cx="810162" cy="442672"/>
          </a:xfrm>
          <a:prstGeom prst="rect">
            <a:avLst/>
          </a:prstGeom>
        </p:spPr>
      </p:pic>
      <p:sp>
        <p:nvSpPr>
          <p:cNvPr id="4" name="TextBox 2">
            <a:extLst>
              <a:ext uri="{FF2B5EF4-FFF2-40B4-BE49-F238E27FC236}">
                <a16:creationId xmlns:a16="http://schemas.microsoft.com/office/drawing/2014/main" id="{B2CB4082-4C53-AE35-46AE-A208E14D07E6}"/>
              </a:ext>
            </a:extLst>
          </p:cNvPr>
          <p:cNvSpPr txBox="1"/>
          <p:nvPr userDrawn="1"/>
        </p:nvSpPr>
        <p:spPr>
          <a:xfrm>
            <a:off x="7877181" y="6352703"/>
            <a:ext cx="138132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i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+mj-lt"/>
                <a:ea typeface="Calibri" panose="020F0502020204030204" pitchFamily="34" charset="0"/>
              </a:rPr>
              <a:t>All Operating Sites</a:t>
            </a:r>
            <a:endParaRPr lang="en-US" sz="900" i="1" dirty="0">
              <a:solidFill>
                <a:schemeClr val="tx1">
                  <a:lumMod val="95000"/>
                  <a:lumOff val="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83359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ppendix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-up of several metal bars&#10;&#10;Description automatically generated">
            <a:extLst>
              <a:ext uri="{FF2B5EF4-FFF2-40B4-BE49-F238E27FC236}">
                <a16:creationId xmlns:a16="http://schemas.microsoft.com/office/drawing/2014/main" id="{85818DAE-F173-6A02-5C2D-15422D5E97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-13704" t="73" r="95214" b="852"/>
          <a:stretch/>
        </p:blipFill>
        <p:spPr>
          <a:xfrm>
            <a:off x="-1678028" y="46234"/>
            <a:ext cx="2259597" cy="6811766"/>
          </a:xfrm>
          <a:prstGeom prst="rect">
            <a:avLst/>
          </a:prstGeom>
        </p:spPr>
      </p:pic>
      <p:pic>
        <p:nvPicPr>
          <p:cNvPr id="6" name="Picture 5" descr="A close-up of several metal bars&#10;&#10;Description automatically generated">
            <a:extLst>
              <a:ext uri="{FF2B5EF4-FFF2-40B4-BE49-F238E27FC236}">
                <a16:creationId xmlns:a16="http://schemas.microsoft.com/office/drawing/2014/main" id="{ABB98FE2-8C45-F822-2EEB-97CF29D47D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-5852" t="73" r="30977" b="852"/>
          <a:stretch/>
        </p:blipFill>
        <p:spPr>
          <a:xfrm>
            <a:off x="-6191" y="0"/>
            <a:ext cx="9150191" cy="6858000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B10529-FBDC-4621-8DD5-517C7CBDC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82104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9B10529-FBDC-4621-8DD5-517C7CBDC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DE4059FD-FABF-985C-1EFD-8E12B0A25D6C}"/>
              </a:ext>
            </a:extLst>
          </p:cNvPr>
          <p:cNvSpPr txBox="1">
            <a:spLocks/>
          </p:cNvSpPr>
          <p:nvPr userDrawn="1"/>
        </p:nvSpPr>
        <p:spPr>
          <a:xfrm>
            <a:off x="8864707" y="6591102"/>
            <a:ext cx="448814" cy="35936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511F1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A545FE2-DEF4-4BC2-9058-BF1DA4AEB4E3}" type="slidenum">
              <a:rPr lang="en-US" sz="750" smtClean="0"/>
              <a:pPr/>
              <a:t>‹#›</a:t>
            </a:fld>
            <a:endParaRPr lang="en-US" sz="750" dirty="0"/>
          </a:p>
        </p:txBody>
      </p:sp>
      <p:pic>
        <p:nvPicPr>
          <p:cNvPr id="4" name="Picture 3" descr="A black and white logo&#10;&#10;Description automatically generated">
            <a:extLst>
              <a:ext uri="{FF2B5EF4-FFF2-40B4-BE49-F238E27FC236}">
                <a16:creationId xmlns:a16="http://schemas.microsoft.com/office/drawing/2014/main" id="{73C57629-A0D9-4379-2614-751A21521FB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831528" y="1189655"/>
            <a:ext cx="3746783" cy="144985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CF53F87-37AA-AD86-C495-DD48BED75638}"/>
              </a:ext>
            </a:extLst>
          </p:cNvPr>
          <p:cNvSpPr/>
          <p:nvPr userDrawn="1"/>
        </p:nvSpPr>
        <p:spPr>
          <a:xfrm>
            <a:off x="529829" y="-14288"/>
            <a:ext cx="3664165" cy="68770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447447-78DC-F23E-0FCE-D6184398FC21}"/>
              </a:ext>
            </a:extLst>
          </p:cNvPr>
          <p:cNvSpPr>
            <a:spLocks/>
          </p:cNvSpPr>
          <p:nvPr userDrawn="1"/>
        </p:nvSpPr>
        <p:spPr>
          <a:xfrm rot="5400000" flipV="1">
            <a:off x="781296" y="3412820"/>
            <a:ext cx="6840565" cy="59323"/>
          </a:xfrm>
          <a:prstGeom prst="rect">
            <a:avLst/>
          </a:prstGeom>
          <a:gradFill flip="none" rotWithShape="1">
            <a:gsLst>
              <a:gs pos="40000">
                <a:srgbClr val="869FB5"/>
              </a:gs>
              <a:gs pos="0">
                <a:srgbClr val="45688B"/>
              </a:gs>
              <a:gs pos="99083">
                <a:srgbClr val="2E465E"/>
              </a:gs>
              <a:gs pos="67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CF8E533-867F-52B7-0FEE-86FA4FF30461}"/>
              </a:ext>
            </a:extLst>
          </p:cNvPr>
          <p:cNvSpPr>
            <a:spLocks/>
          </p:cNvSpPr>
          <p:nvPr userDrawn="1"/>
        </p:nvSpPr>
        <p:spPr>
          <a:xfrm rot="5400000" flipV="1">
            <a:off x="-2881412" y="3397283"/>
            <a:ext cx="6877051" cy="69738"/>
          </a:xfrm>
          <a:prstGeom prst="rect">
            <a:avLst/>
          </a:prstGeom>
          <a:gradFill flip="none" rotWithShape="1">
            <a:gsLst>
              <a:gs pos="40000">
                <a:srgbClr val="869FB5"/>
              </a:gs>
              <a:gs pos="0">
                <a:srgbClr val="45688B"/>
              </a:gs>
              <a:gs pos="99083">
                <a:srgbClr val="2E465E"/>
              </a:gs>
              <a:gs pos="67000">
                <a:schemeClr val="bg1">
                  <a:lumMod val="9500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9" name="Picture 8" descr="A blue and black logo&#10;&#10;Description automatically generated">
            <a:extLst>
              <a:ext uri="{FF2B5EF4-FFF2-40B4-BE49-F238E27FC236}">
                <a16:creationId xmlns:a16="http://schemas.microsoft.com/office/drawing/2014/main" id="{3368DAA1-C8D7-7332-E49D-3D0B04D3BA4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65947" y="5943488"/>
            <a:ext cx="2637913" cy="652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077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319" y="436003"/>
            <a:ext cx="6584307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460" y="1519519"/>
            <a:ext cx="7929237" cy="446442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8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65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5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135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12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987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White 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372" y="438866"/>
            <a:ext cx="6478254" cy="311849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460" y="1519519"/>
            <a:ext cx="7929237" cy="446442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8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65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5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135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12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CD40693-0A03-1354-D63D-FF9177EF84C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40374" y="750715"/>
            <a:ext cx="6478252" cy="3118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350" i="1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81273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249" y="417146"/>
            <a:ext cx="6584307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</p:spTree>
    <p:extLst>
      <p:ext uri="{BB962C8B-B14F-4D97-AF65-F5344CB8AC3E}">
        <p14:creationId xmlns:p14="http://schemas.microsoft.com/office/powerpoint/2010/main" val="15837003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white 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6908724-14E5-D95A-5C0D-284485C36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894"/>
          <a:stretch/>
        </p:blipFill>
        <p:spPr>
          <a:xfrm>
            <a:off x="-1" y="-9427"/>
            <a:ext cx="9144001" cy="1245409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7443" y="1519519"/>
            <a:ext cx="8187510" cy="446442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8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65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5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135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12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 descr="A close up of a blue and black background&#10;&#10;Description automatically generated">
            <a:extLst>
              <a:ext uri="{FF2B5EF4-FFF2-40B4-BE49-F238E27FC236}">
                <a16:creationId xmlns:a16="http://schemas.microsoft.com/office/drawing/2014/main" id="{A7785B8F-E69F-3E87-893C-C30F551FEFA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382" y="-9427"/>
            <a:ext cx="750094" cy="1038225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373" y="530268"/>
            <a:ext cx="6584307" cy="381498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pic>
        <p:nvPicPr>
          <p:cNvPr id="2" name="Picture 1" descr="A blue and black logo&#10;&#10;Description automatically generated">
            <a:extLst>
              <a:ext uri="{FF2B5EF4-FFF2-40B4-BE49-F238E27FC236}">
                <a16:creationId xmlns:a16="http://schemas.microsoft.com/office/drawing/2014/main" id="{29FCF83F-B782-0E6A-1686-0705CAEC030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986021" y="-39253"/>
            <a:ext cx="1655759" cy="409340"/>
          </a:xfrm>
          <a:prstGeom prst="rect">
            <a:avLst/>
          </a:prstGeom>
        </p:spPr>
      </p:pic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A7773481-FE5B-C55B-4845-F538B9CC919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781890" y="490209"/>
            <a:ext cx="1265458" cy="489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3773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white Title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6908724-14E5-D95A-5C0D-284485C36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894"/>
          <a:stretch/>
        </p:blipFill>
        <p:spPr>
          <a:xfrm>
            <a:off x="-1" y="-9427"/>
            <a:ext cx="9144001" cy="1245409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7443" y="1519519"/>
            <a:ext cx="8253497" cy="4464423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8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65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50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135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1200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 descr="A close up of a blue and black background&#10;&#10;Description automatically generated">
            <a:extLst>
              <a:ext uri="{FF2B5EF4-FFF2-40B4-BE49-F238E27FC236}">
                <a16:creationId xmlns:a16="http://schemas.microsoft.com/office/drawing/2014/main" id="{A7785B8F-E69F-3E87-893C-C30F551FEFA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382" y="-9427"/>
            <a:ext cx="750094" cy="1038225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0373" y="379438"/>
            <a:ext cx="6584307" cy="381498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D08A13F1-DDBA-0238-F2E3-B49A06E152B1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440374" y="750715"/>
            <a:ext cx="6584306" cy="3118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350" i="1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 descr="A blue and black logo&#10;&#10;Description automatically generated">
            <a:extLst>
              <a:ext uri="{FF2B5EF4-FFF2-40B4-BE49-F238E27FC236}">
                <a16:creationId xmlns:a16="http://schemas.microsoft.com/office/drawing/2014/main" id="{C4C08978-886F-E8E5-73B0-EA408FA883F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986021" y="-39253"/>
            <a:ext cx="1655759" cy="409340"/>
          </a:xfrm>
          <a:prstGeom prst="rect">
            <a:avLst/>
          </a:prstGeom>
        </p:spPr>
      </p:pic>
      <p:pic>
        <p:nvPicPr>
          <p:cNvPr id="5" name="Picture 4" descr="A black and white logo&#10;&#10;Description automatically generated">
            <a:extLst>
              <a:ext uri="{FF2B5EF4-FFF2-40B4-BE49-F238E27FC236}">
                <a16:creationId xmlns:a16="http://schemas.microsoft.com/office/drawing/2014/main" id="{58358372-70ED-0FE6-CB17-90ECC57EF4D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781890" y="490209"/>
            <a:ext cx="1265458" cy="489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719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>
            <a:extLst>
              <a:ext uri="{FF2B5EF4-FFF2-40B4-BE49-F238E27FC236}">
                <a16:creationId xmlns:a16="http://schemas.microsoft.com/office/drawing/2014/main" id="{7A47CEBF-087B-D242-8BA7-ECC91B1B9B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3109" y="427192"/>
            <a:ext cx="6584307" cy="607555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lnSpc>
                <a:spcPct val="85000"/>
              </a:lnSpc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 Arial Bo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11022-70AA-4249-87BE-62B1FB1E0B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32116" y="2971246"/>
            <a:ext cx="2359394" cy="1535996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5DAB"/>
              </a:buClr>
              <a:buSzPct val="110000"/>
              <a:defRPr sz="1200">
                <a:latin typeface="+mj-lt"/>
                <a:cs typeface="Arial" panose="020B0604020202020204" pitchFamily="34" charset="0"/>
              </a:defRPr>
            </a:lvl1pPr>
            <a:lvl2pPr marL="428625" indent="-214313">
              <a:buClr>
                <a:srgbClr val="005DAB"/>
              </a:buClr>
              <a:buFont typeface="Arial" panose="020B0604020202020204" pitchFamily="34" charset="0"/>
              <a:buChar char="‒"/>
              <a:defRPr sz="12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2pPr>
            <a:lvl3pPr marL="516731" indent="-170260"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  <a:defRPr lang="en-US" sz="1050" b="0" i="0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685800" indent="-169069">
              <a:buClr>
                <a:srgbClr val="005DAB"/>
              </a:buClr>
              <a:buSzPct val="95000"/>
              <a:defRPr sz="900">
                <a:latin typeface="+mj-lt"/>
                <a:cs typeface="Arial" panose="020B0604020202020204" pitchFamily="34" charset="0"/>
              </a:defRPr>
            </a:lvl4pPr>
            <a:lvl5pPr marL="854869" indent="-169069">
              <a:buClr>
                <a:srgbClr val="005DAB"/>
              </a:buClr>
              <a:buFont typeface="Arial" panose="020B0604020202020204" pitchFamily="34" charset="0"/>
              <a:buChar char="–"/>
              <a:defRPr sz="825"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AACDD39-4423-42DC-1617-E392617E019C}"/>
              </a:ext>
            </a:extLst>
          </p:cNvPr>
          <p:cNvSpPr/>
          <p:nvPr userDrawn="1"/>
        </p:nvSpPr>
        <p:spPr>
          <a:xfrm>
            <a:off x="2382" y="1177710"/>
            <a:ext cx="9141618" cy="15151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A5903C8-A57F-CB57-B8BE-2F90028155F4}"/>
              </a:ext>
            </a:extLst>
          </p:cNvPr>
          <p:cNvSpPr/>
          <p:nvPr userDrawn="1"/>
        </p:nvSpPr>
        <p:spPr>
          <a:xfrm>
            <a:off x="91296" y="4930439"/>
            <a:ext cx="279365" cy="1231804"/>
          </a:xfrm>
          <a:prstGeom prst="rect">
            <a:avLst/>
          </a:prstGeom>
          <a:gradFill>
            <a:gsLst>
              <a:gs pos="25000">
                <a:srgbClr val="FEC745"/>
              </a:gs>
              <a:gs pos="0">
                <a:srgbClr val="E18332"/>
              </a:gs>
              <a:gs pos="100000">
                <a:srgbClr val="9B532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A643AF4-C92E-B365-53BB-777D9E842197}"/>
              </a:ext>
            </a:extLst>
          </p:cNvPr>
          <p:cNvSpPr/>
          <p:nvPr userDrawn="1"/>
        </p:nvSpPr>
        <p:spPr>
          <a:xfrm>
            <a:off x="807420" y="4964036"/>
            <a:ext cx="290717" cy="1206610"/>
          </a:xfrm>
          <a:prstGeom prst="rect">
            <a:avLst/>
          </a:prstGeom>
          <a:gradFill>
            <a:gsLst>
              <a:gs pos="71000">
                <a:srgbClr val="A06146"/>
              </a:gs>
              <a:gs pos="46000">
                <a:srgbClr val="DA9E7F"/>
              </a:gs>
              <a:gs pos="25000">
                <a:srgbClr val="F9C397"/>
              </a:gs>
              <a:gs pos="0">
                <a:srgbClr val="F2D3AE"/>
              </a:gs>
              <a:gs pos="100000">
                <a:srgbClr val="843C2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0786730-7A65-D011-07F0-D60FEDB8668B}"/>
              </a:ext>
            </a:extLst>
          </p:cNvPr>
          <p:cNvSpPr txBox="1"/>
          <p:nvPr userDrawn="1"/>
        </p:nvSpPr>
        <p:spPr>
          <a:xfrm>
            <a:off x="139003" y="4628345"/>
            <a:ext cx="23494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Additional color selec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C525E7F-DE77-1C75-46B8-E82E9DAB8DAF}"/>
              </a:ext>
            </a:extLst>
          </p:cNvPr>
          <p:cNvSpPr/>
          <p:nvPr userDrawn="1"/>
        </p:nvSpPr>
        <p:spPr>
          <a:xfrm>
            <a:off x="442360" y="4924026"/>
            <a:ext cx="267810" cy="1231802"/>
          </a:xfrm>
          <a:prstGeom prst="rect">
            <a:avLst/>
          </a:prstGeom>
          <a:gradFill>
            <a:gsLst>
              <a:gs pos="52000">
                <a:srgbClr val="FED46A"/>
              </a:gs>
              <a:gs pos="0">
                <a:srgbClr val="F59948"/>
              </a:gs>
              <a:gs pos="100000">
                <a:srgbClr val="E1833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EDA7D8B-1B1B-4FC7-7750-915B6E03F790}"/>
              </a:ext>
            </a:extLst>
          </p:cNvPr>
          <p:cNvSpPr/>
          <p:nvPr userDrawn="1"/>
        </p:nvSpPr>
        <p:spPr>
          <a:xfrm>
            <a:off x="1554090" y="4964037"/>
            <a:ext cx="307433" cy="1206609"/>
          </a:xfrm>
          <a:prstGeom prst="rect">
            <a:avLst/>
          </a:prstGeom>
          <a:gradFill>
            <a:gsLst>
              <a:gs pos="40000">
                <a:srgbClr val="0088BA"/>
              </a:gs>
              <a:gs pos="0">
                <a:srgbClr val="B5E4F7"/>
              </a:gs>
              <a:gs pos="100000">
                <a:srgbClr val="084A6C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CE3257E-FE12-BFFC-F85F-8751163D88DB}"/>
              </a:ext>
            </a:extLst>
          </p:cNvPr>
          <p:cNvSpPr txBox="1"/>
          <p:nvPr userDrawn="1"/>
        </p:nvSpPr>
        <p:spPr>
          <a:xfrm>
            <a:off x="260453" y="1310798"/>
            <a:ext cx="5859470" cy="12003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57175" indent="-257175">
              <a:buFont typeface="+mj-lt"/>
              <a:buAutoNum type="arabicPeriod"/>
            </a:pPr>
            <a:r>
              <a:rPr lang="en-US" sz="1200" b="1" u="sng" dirty="0">
                <a:latin typeface="Arial" panose="020B0604020202020204" pitchFamily="34" charset="0"/>
                <a:cs typeface="Arial" panose="020B0604020202020204" pitchFamily="34" charset="0"/>
              </a:rPr>
              <a:t>The Value of Copper 2024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olor theme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elect View/Slide Master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elect Colors</a:t>
            </a:r>
          </a:p>
          <a:p>
            <a:pPr marL="257175" indent="-257175">
              <a:buFont typeface="+mj-lt"/>
              <a:buAutoNum type="arabicPeriod"/>
            </a:pP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Under </a:t>
            </a:r>
            <a:r>
              <a:rPr lang="en-US" sz="1200" b="1" u="sng" dirty="0">
                <a:latin typeface="Arial" panose="020B0604020202020204" pitchFamily="34" charset="0"/>
                <a:cs typeface="Arial" panose="020B0604020202020204" pitchFamily="34" charset="0"/>
              </a:rPr>
              <a:t>Custom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select THE VALUE OF COPPER 2024 them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A13DDDD-AC81-1E07-996D-1D6A43715280}"/>
              </a:ext>
            </a:extLst>
          </p:cNvPr>
          <p:cNvSpPr/>
          <p:nvPr userDrawn="1"/>
        </p:nvSpPr>
        <p:spPr>
          <a:xfrm>
            <a:off x="325130" y="3198414"/>
            <a:ext cx="206923" cy="245798"/>
          </a:xfrm>
          <a:prstGeom prst="rect">
            <a:avLst/>
          </a:prstGeom>
          <a:solidFill>
            <a:srgbClr val="0088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ABEFD5F9-3BE8-6B71-E2EE-5FE6BAC823C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892235173"/>
              </p:ext>
            </p:extLst>
          </p:nvPr>
        </p:nvGraphicFramePr>
        <p:xfrm>
          <a:off x="4911751" y="3044858"/>
          <a:ext cx="3923946" cy="3487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6511B0FB-6724-6C81-F572-2ADF14EB6912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23718867"/>
              </p:ext>
            </p:extLst>
          </p:nvPr>
        </p:nvGraphicFramePr>
        <p:xfrm>
          <a:off x="2063034" y="4507243"/>
          <a:ext cx="2665334" cy="2128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FE853E74-1B5C-BEAC-DDFC-786FEC4426EB}"/>
              </a:ext>
            </a:extLst>
          </p:cNvPr>
          <p:cNvSpPr/>
          <p:nvPr userDrawn="1"/>
        </p:nvSpPr>
        <p:spPr>
          <a:xfrm>
            <a:off x="1832980" y="3198414"/>
            <a:ext cx="206923" cy="245798"/>
          </a:xfrm>
          <a:prstGeom prst="rect">
            <a:avLst/>
          </a:prstGeom>
          <a:solidFill>
            <a:srgbClr val="8D6E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DCD109F-9CB0-2C9C-DB76-D76DF5BCA409}"/>
              </a:ext>
            </a:extLst>
          </p:cNvPr>
          <p:cNvSpPr txBox="1"/>
          <p:nvPr userDrawn="1"/>
        </p:nvSpPr>
        <p:spPr>
          <a:xfrm>
            <a:off x="148121" y="4078794"/>
            <a:ext cx="545193" cy="22754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750" dirty="0"/>
              <a:t>#934E15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48CA4B8-B104-C60B-1CF0-7E53191E9937}"/>
              </a:ext>
            </a:extLst>
          </p:cNvPr>
          <p:cNvSpPr txBox="1"/>
          <p:nvPr userDrawn="1"/>
        </p:nvSpPr>
        <p:spPr>
          <a:xfrm>
            <a:off x="101566" y="3470719"/>
            <a:ext cx="561419" cy="2457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750" dirty="0"/>
              <a:t>#0088BA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0B32B93-ADEA-6792-93A2-3085023E1577}"/>
              </a:ext>
            </a:extLst>
          </p:cNvPr>
          <p:cNvGrpSpPr/>
          <p:nvPr userDrawn="1"/>
        </p:nvGrpSpPr>
        <p:grpSpPr>
          <a:xfrm>
            <a:off x="7898813" y="1345382"/>
            <a:ext cx="720941" cy="500575"/>
            <a:chOff x="7525504" y="1297924"/>
            <a:chExt cx="2552344" cy="132913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55951B4-E1A2-9B13-7F52-0D2D33FD486C}"/>
                </a:ext>
              </a:extLst>
            </p:cNvPr>
            <p:cNvSpPr/>
            <p:nvPr userDrawn="1"/>
          </p:nvSpPr>
          <p:spPr>
            <a:xfrm rot="16200000">
              <a:off x="7493951" y="2027571"/>
              <a:ext cx="631045" cy="567940"/>
            </a:xfrm>
            <a:prstGeom prst="rect">
              <a:avLst/>
            </a:prstGeom>
            <a:solidFill>
              <a:srgbClr val="8B6C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AF24005-2789-0F32-4264-BD2B3C62A97F}"/>
                </a:ext>
              </a:extLst>
            </p:cNvPr>
            <p:cNvSpPr/>
            <p:nvPr userDrawn="1"/>
          </p:nvSpPr>
          <p:spPr>
            <a:xfrm rot="16200000">
              <a:off x="8114857" y="2015738"/>
              <a:ext cx="631045" cy="567940"/>
            </a:xfrm>
            <a:prstGeom prst="rect">
              <a:avLst/>
            </a:prstGeom>
            <a:solidFill>
              <a:srgbClr val="AF75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9F589F1-5694-0338-1BF0-9A869568FF86}"/>
                </a:ext>
              </a:extLst>
            </p:cNvPr>
            <p:cNvSpPr/>
            <p:nvPr userDrawn="1"/>
          </p:nvSpPr>
          <p:spPr>
            <a:xfrm rot="16200000">
              <a:off x="8796606" y="2027571"/>
              <a:ext cx="631045" cy="567940"/>
            </a:xfrm>
            <a:prstGeom prst="rect">
              <a:avLst/>
            </a:prstGeom>
            <a:solidFill>
              <a:srgbClr val="B7452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D9762A9-5CC6-73F1-050E-7FA648844D69}"/>
                </a:ext>
              </a:extLst>
            </p:cNvPr>
            <p:cNvSpPr/>
            <p:nvPr userDrawn="1"/>
          </p:nvSpPr>
          <p:spPr>
            <a:xfrm rot="16200000">
              <a:off x="9478355" y="2015738"/>
              <a:ext cx="631045" cy="567940"/>
            </a:xfrm>
            <a:prstGeom prst="rect">
              <a:avLst/>
            </a:prstGeom>
            <a:solidFill>
              <a:srgbClr val="C87E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C070C71-CE37-92E2-0545-5B781A1D1378}"/>
                </a:ext>
              </a:extLst>
            </p:cNvPr>
            <p:cNvSpPr/>
            <p:nvPr userDrawn="1"/>
          </p:nvSpPr>
          <p:spPr>
            <a:xfrm rot="16200000">
              <a:off x="8143027" y="1329477"/>
              <a:ext cx="631045" cy="567940"/>
            </a:xfrm>
            <a:prstGeom prst="rect">
              <a:avLst/>
            </a:prstGeom>
            <a:solidFill>
              <a:srgbClr val="984D3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6ED465A-669B-F9BE-722E-58172849C11B}"/>
                </a:ext>
              </a:extLst>
            </p:cNvPr>
            <p:cNvSpPr/>
            <p:nvPr userDrawn="1"/>
          </p:nvSpPr>
          <p:spPr>
            <a:xfrm rot="16200000">
              <a:off x="8825909" y="1329477"/>
              <a:ext cx="631045" cy="567940"/>
            </a:xfrm>
            <a:prstGeom prst="rect">
              <a:avLst/>
            </a:prstGeom>
            <a:solidFill>
              <a:srgbClr val="D896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07FC58C-D212-6428-C5AE-CB733B4D3E0D}"/>
                </a:ext>
              </a:extLst>
            </p:cNvPr>
            <p:cNvSpPr/>
            <p:nvPr userDrawn="1"/>
          </p:nvSpPr>
          <p:spPr>
            <a:xfrm rot="16200000">
              <a:off x="7493951" y="1329477"/>
              <a:ext cx="631045" cy="567940"/>
            </a:xfrm>
            <a:prstGeom prst="rect">
              <a:avLst/>
            </a:prstGeom>
            <a:solidFill>
              <a:srgbClr val="F2D3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E6C384E8-E467-1920-F822-670E72B3C17A}"/>
                </a:ext>
              </a:extLst>
            </p:cNvPr>
            <p:cNvSpPr/>
            <p:nvPr userDrawn="1"/>
          </p:nvSpPr>
          <p:spPr>
            <a:xfrm rot="16200000">
              <a:off x="9461462" y="1329477"/>
              <a:ext cx="631045" cy="567940"/>
            </a:xfrm>
            <a:prstGeom prst="rect">
              <a:avLst/>
            </a:prstGeom>
            <a:solidFill>
              <a:srgbClr val="F9C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8D08324F-6AFA-6711-33FD-9A0CA33914EB}"/>
              </a:ext>
            </a:extLst>
          </p:cNvPr>
          <p:cNvSpPr/>
          <p:nvPr userDrawn="1"/>
        </p:nvSpPr>
        <p:spPr>
          <a:xfrm>
            <a:off x="813618" y="3198414"/>
            <a:ext cx="206923" cy="245798"/>
          </a:xfrm>
          <a:prstGeom prst="rect">
            <a:avLst/>
          </a:prstGeom>
          <a:solidFill>
            <a:srgbClr val="27B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1BA2C1F-7565-9527-ACCE-9CCAA6A9B5FB}"/>
              </a:ext>
            </a:extLst>
          </p:cNvPr>
          <p:cNvSpPr txBox="1"/>
          <p:nvPr userDrawn="1"/>
        </p:nvSpPr>
        <p:spPr>
          <a:xfrm>
            <a:off x="616876" y="3470720"/>
            <a:ext cx="750903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750" dirty="0"/>
              <a:t>#27B3D3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5DA3651-3DE9-0232-82D2-53696810851C}"/>
              </a:ext>
            </a:extLst>
          </p:cNvPr>
          <p:cNvSpPr/>
          <p:nvPr userDrawn="1"/>
        </p:nvSpPr>
        <p:spPr>
          <a:xfrm rot="16200000">
            <a:off x="1260588" y="3826848"/>
            <a:ext cx="245797" cy="206924"/>
          </a:xfrm>
          <a:prstGeom prst="rect">
            <a:avLst/>
          </a:prstGeom>
          <a:solidFill>
            <a:srgbClr val="FEC2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42E0660-5D4E-42D8-B6D4-89F059082275}"/>
              </a:ext>
            </a:extLst>
          </p:cNvPr>
          <p:cNvSpPr txBox="1"/>
          <p:nvPr userDrawn="1"/>
        </p:nvSpPr>
        <p:spPr>
          <a:xfrm>
            <a:off x="1111496" y="4078795"/>
            <a:ext cx="750903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750" dirty="0"/>
              <a:t>#FEC240</a:t>
            </a:r>
          </a:p>
          <a:p>
            <a:endParaRPr lang="en-US" sz="75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18F6D62-B233-9278-4EDB-2D916D095887}"/>
              </a:ext>
            </a:extLst>
          </p:cNvPr>
          <p:cNvSpPr/>
          <p:nvPr userDrawn="1"/>
        </p:nvSpPr>
        <p:spPr>
          <a:xfrm>
            <a:off x="1915354" y="4975762"/>
            <a:ext cx="319538" cy="1206609"/>
          </a:xfrm>
          <a:prstGeom prst="rect">
            <a:avLst/>
          </a:prstGeom>
          <a:gradFill>
            <a:gsLst>
              <a:gs pos="98473">
                <a:srgbClr val="638600"/>
              </a:gs>
              <a:gs pos="4580">
                <a:srgbClr val="C0FF0D"/>
              </a:gs>
              <a:gs pos="40000">
                <a:srgbClr val="B0EE0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79FFCF3-21B1-EDE3-65F9-DC32EE4A197F}"/>
              </a:ext>
            </a:extLst>
          </p:cNvPr>
          <p:cNvSpPr/>
          <p:nvPr userDrawn="1"/>
        </p:nvSpPr>
        <p:spPr>
          <a:xfrm>
            <a:off x="1180573" y="4975763"/>
            <a:ext cx="319538" cy="1206609"/>
          </a:xfrm>
          <a:prstGeom prst="rect">
            <a:avLst/>
          </a:prstGeom>
          <a:gradFill>
            <a:gsLst>
              <a:gs pos="1527">
                <a:srgbClr val="F9C397"/>
              </a:gs>
              <a:gs pos="49000">
                <a:srgbClr val="FB7645"/>
              </a:gs>
              <a:gs pos="98473">
                <a:srgbClr val="B7452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A418EE4-307A-2A23-19E6-0F48EBC3CEB4}"/>
              </a:ext>
            </a:extLst>
          </p:cNvPr>
          <p:cNvSpPr txBox="1"/>
          <p:nvPr userDrawn="1"/>
        </p:nvSpPr>
        <p:spPr>
          <a:xfrm>
            <a:off x="651584" y="4078795"/>
            <a:ext cx="545193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750" dirty="0"/>
              <a:t>#D34727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D9FFA56-7D86-4DB2-7609-3A8920FE444F}"/>
              </a:ext>
            </a:extLst>
          </p:cNvPr>
          <p:cNvSpPr/>
          <p:nvPr userDrawn="1"/>
        </p:nvSpPr>
        <p:spPr>
          <a:xfrm rot="16200000">
            <a:off x="776844" y="3826848"/>
            <a:ext cx="245797" cy="206924"/>
          </a:xfrm>
          <a:prstGeom prst="rect">
            <a:avLst/>
          </a:prstGeom>
          <a:solidFill>
            <a:srgbClr val="D347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CC0534C-1623-DC99-B40F-9E4820A274F8}"/>
              </a:ext>
            </a:extLst>
          </p:cNvPr>
          <p:cNvSpPr/>
          <p:nvPr userDrawn="1"/>
        </p:nvSpPr>
        <p:spPr>
          <a:xfrm>
            <a:off x="1269062" y="3198414"/>
            <a:ext cx="206923" cy="245798"/>
          </a:xfrm>
          <a:prstGeom prst="rect">
            <a:avLst/>
          </a:prstGeom>
          <a:solidFill>
            <a:srgbClr val="88B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EFC94E0-DDFD-FB3C-3996-C52C10B72829}"/>
              </a:ext>
            </a:extLst>
          </p:cNvPr>
          <p:cNvSpPr txBox="1"/>
          <p:nvPr userDrawn="1"/>
        </p:nvSpPr>
        <p:spPr>
          <a:xfrm>
            <a:off x="1168758" y="3470720"/>
            <a:ext cx="750903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750" dirty="0"/>
              <a:t>#88BA00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A225E91-61CF-FF06-D020-2C9FD83A03A7}"/>
              </a:ext>
            </a:extLst>
          </p:cNvPr>
          <p:cNvSpPr/>
          <p:nvPr userDrawn="1"/>
        </p:nvSpPr>
        <p:spPr>
          <a:xfrm rot="16200000">
            <a:off x="288867" y="3826848"/>
            <a:ext cx="245797" cy="206924"/>
          </a:xfrm>
          <a:prstGeom prst="rect">
            <a:avLst/>
          </a:prstGeom>
          <a:solidFill>
            <a:srgbClr val="934E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EAB5655-B481-FF0A-35B9-52A93A28F178}"/>
              </a:ext>
            </a:extLst>
          </p:cNvPr>
          <p:cNvSpPr/>
          <p:nvPr userDrawn="1"/>
        </p:nvSpPr>
        <p:spPr>
          <a:xfrm>
            <a:off x="1832980" y="3807411"/>
            <a:ext cx="206923" cy="245798"/>
          </a:xfrm>
          <a:prstGeom prst="rect">
            <a:avLst/>
          </a:prstGeom>
          <a:solidFill>
            <a:srgbClr val="E183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3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DBBE12A-D166-1CD8-3040-E0D21C917AAB}"/>
              </a:ext>
            </a:extLst>
          </p:cNvPr>
          <p:cNvSpPr txBox="1"/>
          <p:nvPr userDrawn="1"/>
        </p:nvSpPr>
        <p:spPr>
          <a:xfrm>
            <a:off x="1737500" y="4078795"/>
            <a:ext cx="750903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750" dirty="0"/>
              <a:t>#E18332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DE47470-5FE2-E648-60A0-42A2FDC5CA17}"/>
              </a:ext>
            </a:extLst>
          </p:cNvPr>
          <p:cNvSpPr txBox="1"/>
          <p:nvPr userDrawn="1"/>
        </p:nvSpPr>
        <p:spPr>
          <a:xfrm>
            <a:off x="1720640" y="3470720"/>
            <a:ext cx="750903" cy="24622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750" dirty="0"/>
              <a:t>#8D6E59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5198F4C2-2A77-3E24-4785-0986226394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19209" b="6673"/>
          <a:stretch/>
        </p:blipFill>
        <p:spPr>
          <a:xfrm>
            <a:off x="4911751" y="1268585"/>
            <a:ext cx="4190132" cy="1333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9172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2C0EE13-A8FD-8FC1-ADF3-FA193ECE7C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/>
          <a:srcRect l="21957" r="5679"/>
          <a:stretch/>
        </p:blipFill>
        <p:spPr>
          <a:xfrm>
            <a:off x="2382" y="3176"/>
            <a:ext cx="9141618" cy="1253245"/>
          </a:xfrm>
          <a:prstGeom prst="rect">
            <a:avLst/>
          </a:prstGeom>
        </p:spPr>
      </p:pic>
      <p:pic>
        <p:nvPicPr>
          <p:cNvPr id="9" name="Picture 8" descr="A black background with white letters&#10;&#10;Description automatically generated">
            <a:extLst>
              <a:ext uri="{FF2B5EF4-FFF2-40B4-BE49-F238E27FC236}">
                <a16:creationId xmlns:a16="http://schemas.microsoft.com/office/drawing/2014/main" id="{45C9CC86-20CD-1023-72F9-871990F36B74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5940938" y="80243"/>
            <a:ext cx="1690030" cy="298391"/>
          </a:xfrm>
          <a:prstGeom prst="rect">
            <a:avLst/>
          </a:prstGeom>
        </p:spPr>
      </p:pic>
      <p:pic>
        <p:nvPicPr>
          <p:cNvPr id="10" name="Picture 9" descr="A black and white logo&#10;&#10;Description automatically generated">
            <a:extLst>
              <a:ext uri="{FF2B5EF4-FFF2-40B4-BE49-F238E27FC236}">
                <a16:creationId xmlns:a16="http://schemas.microsoft.com/office/drawing/2014/main" id="{87921134-C536-6CAD-E50B-4E762A1D2D3D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7829025" y="490209"/>
            <a:ext cx="1265458" cy="48968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3C3C15-431A-4959-8649-43AA52F84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24406680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592" imgH="595" progId="TCLayout.ActiveDocument.1">
                  <p:embed/>
                </p:oleObj>
              </mc:Choice>
              <mc:Fallback>
                <p:oleObj name="think-cell Slide" r:id="rId21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33C3C15-431A-4959-8649-43AA52F84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782C2B-A5A0-C04D-9DA5-74DC61FF2DA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392692" y="6493999"/>
            <a:ext cx="2251796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023D4F-DAE9-EC46-99AC-2115C96A986A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3028950" y="6493999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01A8757-5FEC-47BA-A12B-15160D7A32B2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31582" y="1517029"/>
            <a:ext cx="8081096" cy="46624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16731" lvl="2" indent="-17026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005DAB"/>
              </a:buClr>
              <a:buSzPct val="8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01FB32A-195F-447B-93AB-5EBC804B0022}"/>
              </a:ext>
            </a:extLst>
          </p:cNvPr>
          <p:cNvSpPr txBox="1">
            <a:spLocks/>
          </p:cNvSpPr>
          <p:nvPr userDrawn="1"/>
        </p:nvSpPr>
        <p:spPr>
          <a:xfrm>
            <a:off x="8751308" y="6591103"/>
            <a:ext cx="392692" cy="26802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511F1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A545FE2-DEF4-4BC2-9058-BF1DA4AEB4E3}" type="slidenum">
              <a:rPr lang="en-US" sz="800" smtClean="0">
                <a:solidFill>
                  <a:schemeClr val="tx1"/>
                </a:solidFill>
              </a:rPr>
              <a:pPr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4AD2E87-F416-4650-863C-8B826391AD73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31582" y="391154"/>
            <a:ext cx="6073424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30762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9" r:id="rId2"/>
    <p:sldLayoutId id="2147483760" r:id="rId3"/>
    <p:sldLayoutId id="2147483707" r:id="rId4"/>
    <p:sldLayoutId id="2147483768" r:id="rId5"/>
    <p:sldLayoutId id="2147483761" r:id="rId6"/>
    <p:sldLayoutId id="2147483769" r:id="rId7"/>
    <p:sldLayoutId id="2147483762" r:id="rId8"/>
    <p:sldLayoutId id="2147483763" r:id="rId9"/>
    <p:sldLayoutId id="2147483764" r:id="rId10"/>
    <p:sldLayoutId id="2147483766" r:id="rId11"/>
    <p:sldLayoutId id="2147483765" r:id="rId12"/>
    <p:sldLayoutId id="2147483767" r:id="rId13"/>
    <p:sldLayoutId id="2147483732" r:id="rId14"/>
    <p:sldLayoutId id="2147483773" r:id="rId15"/>
  </p:sldLayoutIdLst>
  <p:hf hdr="0" ftr="0" dt="0"/>
  <p:txStyles>
    <p:titleStyle>
      <a:lvl1pPr algn="l" defTabSz="685800" rtl="0" eaLnBrk="1" latinLnBrk="0" hangingPunct="1">
        <a:lnSpc>
          <a:spcPct val="85000"/>
        </a:lnSpc>
        <a:spcBef>
          <a:spcPct val="0"/>
        </a:spcBef>
        <a:buNone/>
        <a:defRPr sz="2400" b="1" i="0" kern="1200">
          <a:solidFill>
            <a:schemeClr val="bg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173831" indent="-173831" algn="l" defTabSz="685800" rtl="0" eaLnBrk="1" latinLnBrk="0" hangingPunct="1">
        <a:lnSpc>
          <a:spcPct val="90000"/>
        </a:lnSpc>
        <a:spcBef>
          <a:spcPts val="750"/>
        </a:spcBef>
        <a:buClr>
          <a:srgbClr val="005DAB"/>
        </a:buClr>
        <a:buSzPct val="110000"/>
        <a:buFont typeface="Arial" panose="020B0604020202020204" pitchFamily="34" charset="0"/>
        <a:buChar char="•"/>
        <a:defRPr lang="en-US" sz="180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71488" indent="-257175" algn="l" defTabSz="685800" rtl="0" eaLnBrk="1" latinLnBrk="0" hangingPunct="1">
        <a:lnSpc>
          <a:spcPct val="90000"/>
        </a:lnSpc>
        <a:spcBef>
          <a:spcPts val="375"/>
        </a:spcBef>
        <a:buClr>
          <a:srgbClr val="005DAB"/>
        </a:buClr>
        <a:buFont typeface="Arial" panose="020B0604020202020204" pitchFamily="34" charset="0"/>
        <a:buChar char="–"/>
        <a:defRPr lang="en-US" sz="165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601266" indent="-254794" algn="l" defTabSz="685800" rtl="0" eaLnBrk="1" latinLnBrk="0" hangingPunct="1">
        <a:lnSpc>
          <a:spcPct val="90000"/>
        </a:lnSpc>
        <a:spcBef>
          <a:spcPts val="375"/>
        </a:spcBef>
        <a:buClr>
          <a:srgbClr val="005DAB"/>
        </a:buClr>
        <a:buSzPct val="80000"/>
        <a:buFont typeface="Courier New" panose="02070309020205020404" pitchFamily="49" charset="0"/>
        <a:buChar char="o"/>
        <a:defRPr lang="en-US" sz="1500" b="0" i="0" kern="1200" dirty="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685800" indent="-211931" algn="l" defTabSz="685800" rtl="0" eaLnBrk="1" latinLnBrk="0" hangingPunct="1">
        <a:lnSpc>
          <a:spcPct val="90000"/>
        </a:lnSpc>
        <a:spcBef>
          <a:spcPts val="375"/>
        </a:spcBef>
        <a:buClr>
          <a:srgbClr val="005DAB"/>
        </a:buClr>
        <a:buFont typeface="Arial" panose="020B0604020202020204" pitchFamily="34" charset="0"/>
        <a:buChar char="•"/>
        <a:defRPr lang="en-US" sz="1350" b="0" i="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3197" indent="-211931" algn="l" defTabSz="685800" rtl="0" eaLnBrk="1" latinLnBrk="0" hangingPunct="1">
        <a:lnSpc>
          <a:spcPct val="90000"/>
        </a:lnSpc>
        <a:spcBef>
          <a:spcPts val="375"/>
        </a:spcBef>
        <a:buClr>
          <a:srgbClr val="005DAB"/>
        </a:buClr>
        <a:buSzPct val="80000"/>
        <a:buFont typeface="Arial" panose="020B0604020202020204" pitchFamily="34" charset="0"/>
        <a:buChar char="–"/>
        <a:defRPr lang="en-US" sz="1200" b="0" i="0" kern="1200" dirty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https://publicportal.fmi.com/sites/publicportal/files/Files/Home_Files/HSEP%20Template%20-%2009.2024%20-%20Watermarked.pdf" TargetMode="Externa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cx.com/sustainability/governance/embedding-respect" TargetMode="External"/><Relationship Id="rId2" Type="http://schemas.openxmlformats.org/officeDocument/2006/relationships/hyperlink" Target="https://fcx365.sharepoint.com/sites/GBL-HumanRights/SitePages/Home.aspx?CID=00925cb8-8572-4270-b35c-b85b108f867a&amp;csf=1&amp;e=IPMhi2&amp;web=1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hyperlink" Target="https://forms.office.com/Pages/ResponsePage.aspx?id=4ZwiXzx37Uam-pdABvrgl4fT3sMvUnJJhGa1-nmji-NUQlY2ME1IRjQ3UlFIVEYwQUdVUUlYUzRSQy4u&amp;origin=QRCode" TargetMode="Externa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fcx365.sharepoint.com/:b:/r/Sites/GBL-DOHS/DOHSPolicy/FCX%20-%20HS33%20Metal%20Fume%20Control%20Policy.pdf?csf=1&amp;web=1&amp;e=RsHz6z" TargetMode="External"/><Relationship Id="rId2" Type="http://schemas.openxmlformats.org/officeDocument/2006/relationships/hyperlink" Target="https://fcx365.sharepoint.com/:w:/r/Sites/HEN-HS/HSMS%20Toolbox/Henderson%20Operations%20Respiratory%20Protection%20Program.docx?d=w5ebad5b0abe543068389c9bebc0f3038&amp;csf=1&amp;web=1&amp;e=TBNeoC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F62D0F-4856-B62B-7439-10D0D1F4AF38}"/>
              </a:ext>
            </a:extLst>
          </p:cNvPr>
          <p:cNvSpPr txBox="1">
            <a:spLocks/>
          </p:cNvSpPr>
          <p:nvPr/>
        </p:nvSpPr>
        <p:spPr>
          <a:xfrm>
            <a:off x="443451" y="2959413"/>
            <a:ext cx="4442011" cy="598703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>
                <a:solidFill>
                  <a:schemeClr val="bg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>
              <a:lnSpc>
                <a:spcPct val="85000"/>
              </a:lnSpc>
            </a:pPr>
            <a:r>
              <a:rPr lang="en-US" dirty="0"/>
              <a:t>Henderson HSE Contractor Meeting – March 2025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8EF732-D959-ECB3-00B1-C75B74F6A1F7}"/>
              </a:ext>
            </a:extLst>
          </p:cNvPr>
          <p:cNvSpPr txBox="1">
            <a:spLocks/>
          </p:cNvSpPr>
          <p:nvPr/>
        </p:nvSpPr>
        <p:spPr>
          <a:xfrm>
            <a:off x="426132" y="3821278"/>
            <a:ext cx="4125304" cy="435836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45688B"/>
              </a:buClr>
              <a:buSzPct val="110000"/>
              <a:buFont typeface="Arial" panose="020B0604020202020204" pitchFamily="34" charset="0"/>
              <a:buNone/>
              <a:defRPr lang="en-US" sz="2000" b="0" i="0" kern="120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688B"/>
              </a:buClr>
              <a:buFont typeface="Arial" panose="020B0604020202020204" pitchFamily="34" charset="0"/>
              <a:buNone/>
              <a:defRPr lang="en-US" sz="20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688B"/>
              </a:buClr>
              <a:buSzPct val="80000"/>
              <a:buFont typeface="Courier New" panose="02070309020205020404" pitchFamily="49" charset="0"/>
              <a:buNone/>
              <a:defRPr lang="en-US" sz="18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688B"/>
              </a:buClr>
              <a:buFont typeface="Arial" panose="020B0604020202020204" pitchFamily="34" charset="0"/>
              <a:buNone/>
              <a:defRPr lang="en-US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5688B"/>
              </a:buClr>
              <a:buSzPct val="80000"/>
              <a:buFont typeface="Arial" panose="020B0604020202020204" pitchFamily="34" charset="0"/>
              <a:buNone/>
              <a:defRPr lang="en-US" sz="1600" b="0" i="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/>
              <a:t>03/20/2025</a:t>
            </a:r>
            <a:r>
              <a:rPr lang="en-US" altLang="en-US" sz="1600" b="1" dirty="0">
                <a:solidFill>
                  <a:srgbClr val="D0562E"/>
                </a:solidFill>
              </a:rPr>
              <a:t>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6175014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FE20A-C264-A01F-7386-B269CE42F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 Risk/Actionable Ev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CED92B-476B-1E82-E5D7-E71CB22911A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064508F-A9F9-2177-3C06-55F7DDE642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460" y="1519519"/>
            <a:ext cx="8618214" cy="4800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6396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7FFA3D5-837E-12D1-F524-B07F42CFD7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EAA63C-6ED6-D1D2-DC18-3BC9A9CCDB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 Risk/Actionable Ev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DB56CB-2167-08E8-AFF9-5426FBD7DB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20FBBE-16BF-65DC-5505-C0D43F6770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18662"/>
            <a:ext cx="9144000" cy="5117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0212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9CD6ED-48C6-1B9F-03C0-ECDFB17ADB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064C84-89AD-DA31-C854-39DB557160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 Risk/Actionable Ev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C65BB5-1B50-3E18-1C74-AA559E96F0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63BD609-C69F-9851-180B-A7DB2472C8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417426"/>
            <a:ext cx="9144000" cy="5152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0861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77F9004-188C-F2D6-DA22-E0111EB7D2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8A5A79-15D7-1DE5-C100-AEE06897FD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fety Alerts/Contacts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4FAFF843-4DAE-52B0-0C8A-286655E9A02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7807" y="1552740"/>
            <a:ext cx="8908385" cy="5004430"/>
          </a:xfrm>
        </p:spPr>
      </p:pic>
    </p:spTree>
    <p:extLst>
      <p:ext uri="{BB962C8B-B14F-4D97-AF65-F5344CB8AC3E}">
        <p14:creationId xmlns:p14="http://schemas.microsoft.com/office/powerpoint/2010/main" val="38445877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D0364E-4105-95DC-A448-8EC8FB1CD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fety Alerts/Contacts</a:t>
            </a: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D07A69C6-73E7-EF9B-E7C2-C0503DB0554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362211" y="1301802"/>
            <a:ext cx="4419578" cy="555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5384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775AD6-3705-F2B4-89CD-3C0788C081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SHA Fatality Alerts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561042A4-D16C-837C-0586-25CDEDB2024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1214" b="80376"/>
          <a:stretch/>
        </p:blipFill>
        <p:spPr>
          <a:xfrm>
            <a:off x="239953" y="1864849"/>
            <a:ext cx="5429560" cy="130196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F504F23-3F6D-8FC5-A54F-CCAB4D9C993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3462" b="2693"/>
          <a:stretch/>
        </p:blipFill>
        <p:spPr>
          <a:xfrm>
            <a:off x="239954" y="3156935"/>
            <a:ext cx="5429559" cy="310074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0302003-0072-01F6-29DB-3D3FBC41DC1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521" t="20078" r="37849" b="46844"/>
          <a:stretch/>
        </p:blipFill>
        <p:spPr>
          <a:xfrm>
            <a:off x="5526157" y="4136785"/>
            <a:ext cx="3299791" cy="251050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874FCBF-1233-D078-0F0A-C17421C722F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1961" t="19827" r="5889" b="47095"/>
          <a:stretch/>
        </p:blipFill>
        <p:spPr>
          <a:xfrm>
            <a:off x="6253700" y="1574357"/>
            <a:ext cx="1844703" cy="2472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27882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775AD6-3705-F2B4-89CD-3C0788C081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SHA Fatality Alert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816905D-CDB5-1BBD-3C7F-942443FCEA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460" y="1502797"/>
            <a:ext cx="7929237" cy="4481145"/>
          </a:xfrm>
        </p:spPr>
        <p:txBody>
          <a:bodyPr/>
          <a:lstStyle/>
          <a:p>
            <a:pPr marL="0" indent="0">
              <a:buNone/>
            </a:pPr>
            <a:r>
              <a:rPr lang="en-US" sz="1600" dirty="0">
                <a:latin typeface="Arial" panose="020B0604020202020204" pitchFamily="34" charset="0"/>
              </a:rPr>
              <a:t>February 28, 2025 Fatality</a:t>
            </a:r>
          </a:p>
          <a:p>
            <a:r>
              <a:rPr lang="en-US" sz="1400" dirty="0">
                <a:latin typeface="Arial" panose="020B0604020202020204" pitchFamily="34" charset="0"/>
              </a:rPr>
              <a:t>Accident Classification: Fall of Face, Rib, Side or Highwall</a:t>
            </a:r>
          </a:p>
          <a:p>
            <a:r>
              <a:rPr lang="en-US" sz="1400" dirty="0">
                <a:latin typeface="Arial" panose="020B0604020202020204" pitchFamily="34" charset="0"/>
              </a:rPr>
              <a:t>Mine: Black Eagle – Raleigh, West Virginia (Underground, Coal)</a:t>
            </a:r>
          </a:p>
          <a:p>
            <a:r>
              <a:rPr lang="en-US" sz="1400" dirty="0">
                <a:latin typeface="Arial" panose="020B0604020202020204" pitchFamily="34" charset="0"/>
              </a:rPr>
              <a:t>Preliminary: </a:t>
            </a:r>
            <a:r>
              <a:rPr lang="en-US" sz="1400" dirty="0">
                <a:solidFill>
                  <a:srgbClr val="212121"/>
                </a:solidFill>
                <a:latin typeface="Arial" panose="020B0604020202020204" pitchFamily="34" charset="0"/>
              </a:rPr>
              <a:t>M</a:t>
            </a:r>
            <a:r>
              <a:rPr lang="en-US" sz="1400" b="0" i="0" dirty="0">
                <a:solidFill>
                  <a:srgbClr val="212121"/>
                </a:solidFill>
                <a:effectLst/>
                <a:latin typeface="Arial" panose="020B0604020202020204" pitchFamily="34" charset="0"/>
              </a:rPr>
              <a:t>iner died when a piece of rock fell from an unsupported pillar rib and struck him.</a:t>
            </a:r>
          </a:p>
          <a:p>
            <a:endParaRPr lang="en-US" sz="1600" dirty="0"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1600" dirty="0">
                <a:latin typeface="Arial" panose="020B0604020202020204" pitchFamily="34" charset="0"/>
              </a:rPr>
              <a:t>March 5, 2025 Fatality</a:t>
            </a:r>
          </a:p>
          <a:p>
            <a:r>
              <a:rPr lang="en-US" sz="1400" dirty="0">
                <a:latin typeface="Arial" panose="020B0604020202020204" pitchFamily="34" charset="0"/>
              </a:rPr>
              <a:t>Accident Classification: Powered Haulage</a:t>
            </a:r>
          </a:p>
          <a:p>
            <a:r>
              <a:rPr lang="en-US" sz="1400" dirty="0">
                <a:latin typeface="Arial" panose="020B0604020202020204" pitchFamily="34" charset="0"/>
              </a:rPr>
              <a:t>Mine: ARROWOOD - Mecklenburg, North Carolina (Surface, Granite)</a:t>
            </a:r>
          </a:p>
          <a:p>
            <a:r>
              <a:rPr lang="en-US" sz="1400" dirty="0">
                <a:latin typeface="Arial" panose="020B0604020202020204" pitchFamily="34" charset="0"/>
              </a:rPr>
              <a:t>Preliminary: A miner died while clearing strips of old belt rubber from a belt conveyor tail roller.  During this process, the belt conveyor started to operate, causing the miner to become entangled in between the fluted tail roller and the belt.</a:t>
            </a:r>
          </a:p>
          <a:p>
            <a:pPr marL="0" indent="0">
              <a:buNone/>
            </a:pPr>
            <a:endParaRPr lang="en-US" sz="1600" dirty="0"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1600" dirty="0">
                <a:latin typeface="Arial" panose="020B0604020202020204" pitchFamily="34" charset="0"/>
              </a:rPr>
              <a:t>March 5, 2025 Fatality</a:t>
            </a:r>
          </a:p>
          <a:p>
            <a:r>
              <a:rPr lang="en-US" sz="1400" dirty="0">
                <a:latin typeface="Arial" panose="020B0604020202020204" pitchFamily="34" charset="0"/>
              </a:rPr>
              <a:t>Accident Classification: Explosives and Breaking Agent</a:t>
            </a:r>
          </a:p>
          <a:p>
            <a:r>
              <a:rPr lang="en-US" sz="1400" dirty="0">
                <a:latin typeface="Arial" panose="020B0604020202020204" pitchFamily="34" charset="0"/>
              </a:rPr>
              <a:t>Mine: Calhoun Quarry #1 - Jersey, Illinois (Surface, Limestone)</a:t>
            </a:r>
          </a:p>
          <a:p>
            <a:r>
              <a:rPr lang="en-US" sz="1400" dirty="0">
                <a:latin typeface="Arial" panose="020B0604020202020204" pitchFamily="34" charset="0"/>
              </a:rPr>
              <a:t>Preliminary: V</a:t>
            </a:r>
            <a:r>
              <a:rPr lang="en-US" sz="1400" b="0" i="0" dirty="0">
                <a:solidFill>
                  <a:srgbClr val="212121"/>
                </a:solidFill>
                <a:effectLst/>
                <a:latin typeface="Arial" panose="020B0604020202020204" pitchFamily="34" charset="0"/>
              </a:rPr>
              <a:t>ictim was exiting the Front End Loader when he was struck by a piece of fly rock from a detonated shot.</a:t>
            </a:r>
            <a:endParaRPr lang="en-US" sz="1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53236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76A70A-6B84-1E0D-E190-F6C5C3AF3B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A292CC-D2BE-BD04-9277-2EFCB0DDE1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nderson Incidents – 02/10-03/10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21C9B0-96A7-E646-817E-17DF9BA679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459" y="1344247"/>
            <a:ext cx="4031561" cy="4639696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173355" indent="-173355"/>
            <a:endParaRPr lang="en-US" dirty="0"/>
          </a:p>
          <a:p>
            <a:pPr marL="0" indent="0">
              <a:buNone/>
            </a:pPr>
            <a:r>
              <a:rPr lang="en-US" dirty="0"/>
              <a:t>Summary: Property Damage 03/06</a:t>
            </a:r>
          </a:p>
          <a:p>
            <a:pPr marL="0" indent="0">
              <a:buNone/>
            </a:pPr>
            <a:r>
              <a:rPr lang="en-US" dirty="0"/>
              <a:t>Packing Dock ramp damaged after employee raised the ramp to remove loose straps in the back of a trailer. Ramp not fully extended after straps removed causing damage to ramp and “Safe to Enter” light to give a false positive.</a:t>
            </a:r>
          </a:p>
          <a:p>
            <a:pPr marL="173355" indent="-173355"/>
            <a:endParaRPr lang="en-US" b="0" i="0" dirty="0">
              <a:solidFill>
                <a:srgbClr val="333333"/>
              </a:solidFill>
              <a:effectLst/>
              <a:latin typeface="-apple-system"/>
              <a:cs typeface="Arial"/>
            </a:endParaRPr>
          </a:p>
          <a:p>
            <a:pPr marL="0" indent="0">
              <a:buNone/>
            </a:pPr>
            <a:r>
              <a:rPr lang="en-US" dirty="0"/>
              <a:t>Learnings:</a:t>
            </a:r>
          </a:p>
          <a:p>
            <a:pPr marL="173355" indent="-173355"/>
            <a:r>
              <a:rPr lang="en-US" dirty="0">
                <a:solidFill>
                  <a:srgbClr val="333333"/>
                </a:solidFill>
                <a:latin typeface="-apple-system"/>
              </a:rPr>
              <a:t>Take the time to verify controls are returned to effective state if deviating from process/SOP</a:t>
            </a:r>
          </a:p>
          <a:p>
            <a:pPr marL="173355" indent="-173355"/>
            <a:r>
              <a:rPr lang="en-US" dirty="0">
                <a:solidFill>
                  <a:srgbClr val="333333"/>
                </a:solidFill>
                <a:latin typeface="-apple-system"/>
              </a:rPr>
              <a:t>Trust but verify indicator lights</a:t>
            </a:r>
          </a:p>
          <a:p>
            <a:pPr marL="173355" indent="-173355"/>
            <a:endParaRPr lang="en-US" dirty="0">
              <a:solidFill>
                <a:srgbClr val="333333"/>
              </a:solidFill>
              <a:latin typeface="-apple-system"/>
            </a:endParaRPr>
          </a:p>
          <a:p>
            <a:pPr marL="173355" indent="-173355"/>
            <a:endParaRPr lang="en-US" dirty="0"/>
          </a:p>
          <a:p>
            <a:pPr marL="173355" indent="-173355"/>
            <a:endParaRPr lang="en-US" dirty="0"/>
          </a:p>
          <a:p>
            <a:pPr marL="173355" indent="-173355"/>
            <a:endParaRPr lang="en-US" dirty="0"/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8F1EBD4B-8C29-BEAE-8093-91CF0D4F8AB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3276600"/>
            <a:ext cx="2068664" cy="2068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6" name="Picture 5" descr="A red circle around a door&#10;&#10;AI-generated content may be incorrect.">
            <a:extLst>
              <a:ext uri="{FF2B5EF4-FFF2-40B4-BE49-F238E27FC236}">
                <a16:creationId xmlns:a16="http://schemas.microsoft.com/office/drawing/2014/main" id="{756E3874-E9BB-243C-B0DA-94B73AA1B2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9331" y="1360812"/>
            <a:ext cx="3897025" cy="5185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8013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B469F5-E002-2CC3-9FBD-29C48B21F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nderson Incidents – 02/08-03/0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4744C7-1653-5F58-4FEB-04C6B62B7E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459" y="1344247"/>
            <a:ext cx="4031561" cy="4639696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173355" indent="-173355"/>
            <a:endParaRPr lang="en-US" dirty="0"/>
          </a:p>
          <a:p>
            <a:pPr marL="0" indent="0">
              <a:buNone/>
            </a:pPr>
            <a:r>
              <a:rPr lang="en-US" dirty="0"/>
              <a:t>Summary: Property Damage 03/08</a:t>
            </a:r>
          </a:p>
          <a:p>
            <a:pPr marL="0" indent="0">
              <a:buNone/>
            </a:pPr>
            <a:r>
              <a:rPr lang="en-US" dirty="0"/>
              <a:t>Mucker operator was mucking out of 615 North and hit 480 nip (electrical cable) in 6XC. Roadway was slick in area.</a:t>
            </a:r>
          </a:p>
          <a:p>
            <a:pPr marL="173355" indent="-173355"/>
            <a:endParaRPr lang="en-US" b="0" i="0" dirty="0">
              <a:solidFill>
                <a:srgbClr val="333333"/>
              </a:solidFill>
              <a:effectLst/>
              <a:latin typeface="-apple-system"/>
              <a:cs typeface="Arial"/>
            </a:endParaRPr>
          </a:p>
          <a:p>
            <a:pPr marL="0" indent="0">
              <a:buNone/>
            </a:pPr>
            <a:r>
              <a:rPr lang="en-US" dirty="0"/>
              <a:t>Learnings:</a:t>
            </a:r>
          </a:p>
          <a:p>
            <a:pPr marL="173355" indent="-173355"/>
            <a:r>
              <a:rPr lang="en-US" dirty="0">
                <a:solidFill>
                  <a:srgbClr val="333333"/>
                </a:solidFill>
                <a:latin typeface="-apple-system"/>
              </a:rPr>
              <a:t>Slow down equipment operation to meet driving conditions</a:t>
            </a:r>
          </a:p>
          <a:p>
            <a:pPr marL="173355" indent="-173355"/>
            <a:endParaRPr lang="en-US" dirty="0">
              <a:solidFill>
                <a:srgbClr val="333333"/>
              </a:solidFill>
              <a:latin typeface="-apple-system"/>
            </a:endParaRPr>
          </a:p>
          <a:p>
            <a:pPr marL="173355" indent="-173355"/>
            <a:endParaRPr lang="en-US" dirty="0"/>
          </a:p>
          <a:p>
            <a:pPr marL="173355" indent="-173355"/>
            <a:endParaRPr lang="en-US" dirty="0"/>
          </a:p>
          <a:p>
            <a:pPr marL="173355" indent="-173355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3291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8BEF2F-65DF-5B98-3577-A7BA9D6C36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5D1D4F-B585-694C-19F7-8834821C57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nderson FRM Audit Resul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786C1D-BD6D-749C-B3ED-B943B65BF5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459" y="1502797"/>
            <a:ext cx="3794171" cy="4481146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US" dirty="0"/>
              <a:t>137 Forms Submitted in February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Focus in January and February around Electrical Hazards and Underground Rockfall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Hazardous Substances Acute</a:t>
            </a:r>
            <a:br>
              <a:rPr lang="en-US" dirty="0"/>
            </a:br>
            <a:r>
              <a:rPr lang="en-US" dirty="0"/>
              <a:t>and Chronic missing controls increased in February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u="sng" dirty="0"/>
              <a:t>AUDIT FOCUS FOR MARCH</a:t>
            </a:r>
            <a:br>
              <a:rPr lang="en-US" u="sng" dirty="0"/>
            </a:br>
            <a:r>
              <a:rPr lang="en-US" u="sng" dirty="0"/>
              <a:t>AND APRIL:</a:t>
            </a:r>
          </a:p>
          <a:p>
            <a:pPr>
              <a:buFontTx/>
              <a:buChar char="-"/>
            </a:pPr>
            <a:r>
              <a:rPr lang="en-US" dirty="0"/>
              <a:t>Underground Rockfall</a:t>
            </a:r>
          </a:p>
          <a:p>
            <a:pPr>
              <a:buFontTx/>
              <a:buChar char="-"/>
            </a:pPr>
            <a:r>
              <a:rPr lang="en-US" dirty="0"/>
              <a:t>Hazardous Substances – Acute</a:t>
            </a:r>
          </a:p>
          <a:p>
            <a:pPr>
              <a:buFontTx/>
              <a:buChar char="-"/>
            </a:pPr>
            <a:r>
              <a:rPr lang="en-US" dirty="0"/>
              <a:t>Hazardous Substances – Chronic</a:t>
            </a:r>
          </a:p>
          <a:p>
            <a:pPr>
              <a:buFontTx/>
              <a:buChar char="-"/>
            </a:pPr>
            <a:r>
              <a:rPr lang="en-US" dirty="0"/>
              <a:t>Electrical Hazards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93D24892-FD55-42BA-A3E2-55634F98B2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4374475"/>
              </p:ext>
            </p:extLst>
          </p:nvPr>
        </p:nvGraphicFramePr>
        <p:xfrm>
          <a:off x="3753016" y="1344247"/>
          <a:ext cx="5176299" cy="51925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515815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EA1773-04F2-51DD-5C6C-ED44B972E6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this Meeting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06CC26-26E5-4441-3C94-D2ABCC016E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800" dirty="0"/>
              <a:t>Purpose:</a:t>
            </a:r>
          </a:p>
          <a:p>
            <a:r>
              <a:rPr lang="en-US" sz="2800" dirty="0"/>
              <a:t>For Henderson to have the opportunity to reach multiple contractors to discuss best practices when it comes to Health and Safety, Environmental and Contracts Management</a:t>
            </a:r>
          </a:p>
          <a:p>
            <a:r>
              <a:rPr lang="en-US" sz="2800" dirty="0"/>
              <a:t>Give contractors an open forum to bring up concerns, successes or incidents, learnings, etc. that is shared between all contractors and Henderson personnel</a:t>
            </a:r>
          </a:p>
          <a:p>
            <a:r>
              <a:rPr lang="en-US" sz="2800" dirty="0"/>
              <a:t>Help improve the safety culture and reduce safety incidents as a group</a:t>
            </a:r>
          </a:p>
        </p:txBody>
      </p:sp>
    </p:spTree>
    <p:extLst>
      <p:ext uri="{BB962C8B-B14F-4D97-AF65-F5344CB8AC3E}">
        <p14:creationId xmlns:p14="http://schemas.microsoft.com/office/powerpoint/2010/main" val="88156559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B1615F-8FED-1B83-9B51-D323E264A4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74D1F0-3C8F-FA88-F7D6-8548107D14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Contractor Management Topic – HSEP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3E3304-8EA4-D5B7-67DA-B379224667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Health, Safety and Environmental Plan (HSEP)</a:t>
            </a:r>
          </a:p>
          <a:p>
            <a:endParaRPr lang="en-US" dirty="0"/>
          </a:p>
          <a:p>
            <a:r>
              <a:rPr lang="en-US" dirty="0"/>
              <a:t>New process going into effect May 1</a:t>
            </a:r>
            <a:r>
              <a:rPr lang="en-US" baseline="30000" dirty="0"/>
              <a:t>st</a:t>
            </a:r>
            <a:r>
              <a:rPr lang="en-US" dirty="0"/>
              <a:t>, 2025</a:t>
            </a:r>
          </a:p>
          <a:p>
            <a:endParaRPr lang="en-US" dirty="0"/>
          </a:p>
          <a:p>
            <a:r>
              <a:rPr lang="en-US" dirty="0"/>
              <a:t>Use FMI HSEP provided by GSC (</a:t>
            </a:r>
            <a:r>
              <a:rPr lang="en-US" dirty="0">
                <a:hlinkClick r:id="rId2"/>
              </a:rPr>
              <a:t>HSEP EXAMPLE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/>
              <a:t>Approvals handled through DocuSign</a:t>
            </a:r>
          </a:p>
          <a:p>
            <a:pPr lvl="1"/>
            <a:r>
              <a:rPr lang="en-US" dirty="0"/>
              <a:t>Initial review meeting with Contractor, Project Manager and GSC</a:t>
            </a:r>
          </a:p>
          <a:p>
            <a:pPr lvl="1"/>
            <a:r>
              <a:rPr lang="en-US" dirty="0"/>
              <a:t>Signed off by Project Manager, Safety, Environmental and GSC</a:t>
            </a:r>
          </a:p>
          <a:p>
            <a:endParaRPr lang="en-US" dirty="0"/>
          </a:p>
          <a:p>
            <a:r>
              <a:rPr lang="en-US" dirty="0"/>
              <a:t>Existing HSEPs for projects do not need to be resubmitted</a:t>
            </a:r>
          </a:p>
          <a:p>
            <a:endParaRPr lang="en-US" dirty="0"/>
          </a:p>
          <a:p>
            <a:r>
              <a:rPr lang="en-US" dirty="0"/>
              <a:t>More info to be shared with Project Managers in April</a:t>
            </a:r>
          </a:p>
        </p:txBody>
      </p:sp>
    </p:spTree>
    <p:extLst>
      <p:ext uri="{BB962C8B-B14F-4D97-AF65-F5344CB8AC3E}">
        <p14:creationId xmlns:p14="http://schemas.microsoft.com/office/powerpoint/2010/main" val="15031842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6C0C25-F2D0-3A43-52A0-19BDD8445A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0E943E-4CDD-BDC9-63F7-673385DB6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Contractor Management Topic – Human Rights Impact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EA4E6D-CF5C-F9CB-244D-2C1284E3B6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461" y="1519519"/>
            <a:ext cx="3611290" cy="4464423"/>
          </a:xfrm>
        </p:spPr>
        <p:txBody>
          <a:bodyPr/>
          <a:lstStyle/>
          <a:p>
            <a:pPr marL="0" indent="0" algn="l">
              <a:buNone/>
            </a:pPr>
            <a:r>
              <a:rPr lang="en-US" b="1" i="0" dirty="0">
                <a:solidFill>
                  <a:srgbClr val="242424"/>
                </a:solidFill>
                <a:effectLst/>
                <a:latin typeface="var(--fontFamilyCustomFont1100, var(--fontFamilyBase))"/>
              </a:rPr>
              <a:t>Our Approach</a:t>
            </a:r>
          </a:p>
          <a:p>
            <a:pPr algn="l"/>
            <a:r>
              <a:rPr lang="en-US" b="0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FCX believes respect for human rights is a business imperative</a:t>
            </a:r>
          </a:p>
          <a:p>
            <a:pPr algn="l"/>
            <a:r>
              <a:rPr lang="en-US" b="0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We believe all stakeholders should be treated with dignity and respect</a:t>
            </a:r>
          </a:p>
          <a:p>
            <a:pPr algn="l"/>
            <a:r>
              <a:rPr lang="en-US" b="0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Our core values of safety, respect, integrity, excellence and commitment underpin this imperative</a:t>
            </a:r>
          </a:p>
          <a:p>
            <a:pPr algn="l"/>
            <a:r>
              <a:rPr lang="en-US" b="0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We are dedicated to the recognition and respect of human rights wherever we do business.</a:t>
            </a:r>
            <a:endParaRPr lang="en-US" sz="1800" u="sng" dirty="0">
              <a:solidFill>
                <a:srgbClr val="467886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  <a:hlinkClick r:id="rId2"/>
            </a:endParaRPr>
          </a:p>
          <a:p>
            <a:pPr marL="0" marR="0" indent="0">
              <a:buNone/>
            </a:pPr>
            <a:r>
              <a:rPr lang="en-US" sz="1800" u="sng" dirty="0">
                <a:solidFill>
                  <a:srgbClr val="467886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  <a:hlinkClick r:id="rId2"/>
              </a:rPr>
              <a:t>FCX Human Rights Homepage</a:t>
            </a:r>
            <a:endParaRPr lang="en-US" sz="18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marR="0" indent="0">
              <a:buNone/>
            </a:pPr>
            <a:r>
              <a:rPr lang="en-US" sz="1800" u="sng" dirty="0">
                <a:solidFill>
                  <a:srgbClr val="467886"/>
                </a:solidFill>
                <a:effectLst/>
                <a:latin typeface="Calibri" panose="020F0502020204030204" pitchFamily="34" charset="0"/>
                <a:ea typeface="Aptos" panose="020B0004020202020204" pitchFamily="34" charset="0"/>
                <a:cs typeface="Aptos" panose="020B0004020202020204" pitchFamily="34" charset="0"/>
                <a:hlinkClick r:id="rId3"/>
              </a:rPr>
              <a:t>Embedding Respect &amp; Due Diligence</a:t>
            </a:r>
            <a:endParaRPr lang="en-US" sz="18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8364A85-12AF-C11F-202D-904AB7B406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2000" y="1722622"/>
            <a:ext cx="3486637" cy="4058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2082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D0364E-4105-95DC-A448-8EC8FB1CD8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319" y="436003"/>
            <a:ext cx="6861611" cy="607555"/>
          </a:xfrm>
        </p:spPr>
        <p:txBody>
          <a:bodyPr/>
          <a:lstStyle/>
          <a:p>
            <a:r>
              <a:rPr lang="en-US" dirty="0">
                <a:cs typeface="Arial"/>
              </a:rPr>
              <a:t>Contractor Management Topic – EWS Access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80018B4-8BFB-30DB-1CA4-6165FA21D0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9476" y="1871211"/>
            <a:ext cx="2840217" cy="4464423"/>
          </a:xfrm>
        </p:spPr>
        <p:txBody>
          <a:bodyPr/>
          <a:lstStyle/>
          <a:p>
            <a:r>
              <a:rPr lang="en-US" dirty="0"/>
              <a:t>Access to site digital forms now available to Contractors!</a:t>
            </a:r>
          </a:p>
          <a:p>
            <a:r>
              <a:rPr lang="en-US" dirty="0"/>
              <a:t>Integration of Contractor submitted forms into internal dashboards</a:t>
            </a:r>
          </a:p>
          <a:p>
            <a:r>
              <a:rPr lang="en-US" dirty="0"/>
              <a:t>Forms can be used in online and offline modes</a:t>
            </a:r>
          </a:p>
          <a:p>
            <a:r>
              <a:rPr lang="en-US" dirty="0"/>
              <a:t>Request Access with QR Code or </a:t>
            </a:r>
            <a:r>
              <a:rPr lang="en-US" dirty="0">
                <a:hlinkClick r:id="rId2"/>
              </a:rPr>
              <a:t>HERE</a:t>
            </a:r>
            <a:endParaRPr lang="en-US" dirty="0"/>
          </a:p>
          <a:p>
            <a:endParaRPr lang="en-US" dirty="0"/>
          </a:p>
          <a:p>
            <a:r>
              <a:rPr lang="en-US" dirty="0"/>
              <a:t>Reach out to H&amp;S Department with any questions or issues</a:t>
            </a:r>
          </a:p>
        </p:txBody>
      </p:sp>
      <p:pic>
        <p:nvPicPr>
          <p:cNvPr id="18" name="Picture 17" descr="A cork board with notes and words&#10;&#10;AI-generated content may be incorrect.">
            <a:extLst>
              <a:ext uri="{FF2B5EF4-FFF2-40B4-BE49-F238E27FC236}">
                <a16:creationId xmlns:a16="http://schemas.microsoft.com/office/drawing/2014/main" id="{5289AED1-F95B-A09E-C8A3-A50D87BEEB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5155" y="1265273"/>
            <a:ext cx="4167460" cy="5553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313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D0364E-4105-95DC-A448-8EC8FB1CD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25 Contractor Meeting Schedu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80018B4-8BFB-30DB-1CA4-6165FA21D0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4319" y="1871211"/>
            <a:ext cx="8464447" cy="4464423"/>
          </a:xfrm>
        </p:spPr>
        <p:txBody>
          <a:bodyPr numCol="2"/>
          <a:lstStyle/>
          <a:p>
            <a:pPr marL="0" indent="0">
              <a:buNone/>
            </a:pPr>
            <a:r>
              <a:rPr lang="en-US" sz="2000" dirty="0"/>
              <a:t>April 10</a:t>
            </a:r>
            <a:r>
              <a:rPr lang="en-US" sz="2000" baseline="30000" dirty="0"/>
              <a:t>th</a:t>
            </a:r>
            <a:r>
              <a:rPr lang="en-US" sz="2000" dirty="0"/>
              <a:t> 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June 19</a:t>
            </a:r>
            <a:r>
              <a:rPr lang="en-US" sz="2000" baseline="30000" dirty="0"/>
              <a:t>th</a:t>
            </a: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August 14</a:t>
            </a:r>
            <a:r>
              <a:rPr lang="en-US" sz="2000" baseline="30000" dirty="0"/>
              <a:t>th</a:t>
            </a: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October 9</a:t>
            </a:r>
            <a:r>
              <a:rPr lang="en-US" sz="2000" baseline="30000" dirty="0"/>
              <a:t>th</a:t>
            </a: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December 18</a:t>
            </a:r>
            <a:r>
              <a:rPr lang="en-US" sz="2000" baseline="30000" dirty="0"/>
              <a:t>th</a:t>
            </a: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May 22</a:t>
            </a:r>
            <a:r>
              <a:rPr lang="en-US" sz="2000" baseline="30000" dirty="0"/>
              <a:t>nd</a:t>
            </a: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July 17</a:t>
            </a:r>
            <a:r>
              <a:rPr lang="en-US" sz="2000" baseline="30000" dirty="0"/>
              <a:t>th</a:t>
            </a: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September 11</a:t>
            </a:r>
            <a:r>
              <a:rPr lang="en-US" sz="2000" baseline="30000" dirty="0"/>
              <a:t>th</a:t>
            </a: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November 20</a:t>
            </a:r>
            <a:r>
              <a:rPr lang="en-US" sz="2000" baseline="30000" dirty="0"/>
              <a:t>th</a:t>
            </a: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u="sng" dirty="0"/>
              <a:t>Meetings begin 1PM Mountain Time</a:t>
            </a:r>
          </a:p>
          <a:p>
            <a:pPr marL="0" indent="0">
              <a:buNone/>
            </a:pPr>
            <a:r>
              <a:rPr lang="en-US" sz="2000" u="sng" dirty="0"/>
              <a:t>Mine &amp; Mill Room Options Monthly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4830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6CED902C-2000-7733-5B02-46B90581BD90}"/>
              </a:ext>
            </a:extLst>
          </p:cNvPr>
          <p:cNvSpPr txBox="1"/>
          <p:nvPr/>
        </p:nvSpPr>
        <p:spPr>
          <a:xfrm>
            <a:off x="609600" y="4650154"/>
            <a:ext cx="508781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00" dirty="0"/>
              <a:t>Open Forum</a:t>
            </a:r>
          </a:p>
        </p:txBody>
      </p:sp>
    </p:spTree>
    <p:extLst>
      <p:ext uri="{BB962C8B-B14F-4D97-AF65-F5344CB8AC3E}">
        <p14:creationId xmlns:p14="http://schemas.microsoft.com/office/powerpoint/2010/main" val="20300382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2356A1-11D8-103E-69B5-EEB735A8DE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ch Sign-Off Recor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1BB70-B5AF-D44C-18A6-2C7D54C5EF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91139"/>
            <a:ext cx="7668097" cy="4592804"/>
          </a:xfrm>
        </p:spPr>
        <p:txBody>
          <a:bodyPr numCol="2"/>
          <a:lstStyle/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_____________________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AutoNum type="arabicPeriod"/>
            </a:pPr>
            <a:r>
              <a:rPr lang="en-US" dirty="0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_____________________</a:t>
            </a:r>
          </a:p>
          <a:p>
            <a:pPr marL="342900" indent="-342900">
              <a:lnSpc>
                <a:spcPct val="150000"/>
              </a:lnSpc>
              <a:buAutoNum type="arabicPeriod"/>
            </a:pPr>
            <a:r>
              <a:rPr lang="en-US" dirty="0"/>
              <a:t>_____________________</a:t>
            </a:r>
          </a:p>
        </p:txBody>
      </p:sp>
    </p:spTree>
    <p:extLst>
      <p:ext uri="{BB962C8B-B14F-4D97-AF65-F5344CB8AC3E}">
        <p14:creationId xmlns:p14="http://schemas.microsoft.com/office/powerpoint/2010/main" val="3554689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A60BBB-E057-F0A9-EAD4-3A56884478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B19876-F2A6-AE9F-65E6-59B02FE37C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319" y="436003"/>
            <a:ext cx="7059035" cy="607555"/>
          </a:xfrm>
        </p:spPr>
        <p:txBody>
          <a:bodyPr/>
          <a:lstStyle/>
          <a:p>
            <a:r>
              <a:rPr lang="en-US" dirty="0"/>
              <a:t>Safety Topic </a:t>
            </a:r>
            <a:r>
              <a:rPr lang="en-US"/>
              <a:t>– </a:t>
            </a:r>
            <a:r>
              <a:rPr lang="en-US" sz="2400" b="1">
                <a:latin typeface="Arial" panose="020B0604020202020204" pitchFamily="34" charset="0"/>
                <a:cs typeface="Arial" panose="020B0604020202020204" pitchFamily="34" charset="0"/>
              </a:rPr>
              <a:t>Electrical Safety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50535D-6CB8-DC86-3DDE-927F63D3C5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460" y="1383323"/>
            <a:ext cx="7929237" cy="460061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uthorized Personnel Only</a:t>
            </a:r>
          </a:p>
          <a:p>
            <a:pPr lvl="1">
              <a:lnSpc>
                <a:spcPct val="100000"/>
              </a:lnSpc>
            </a:pPr>
            <a:r>
              <a:rPr lang="en-US" sz="1450" dirty="0">
                <a:latin typeface="Arial" panose="020B0604020202020204" pitchFamily="34" charset="0"/>
                <a:cs typeface="Arial" panose="020B0604020202020204" pitchFamily="34" charset="0"/>
              </a:rPr>
              <a:t>Only </a:t>
            </a:r>
            <a:r>
              <a:rPr lang="en-US" sz="1450" b="1" dirty="0">
                <a:latin typeface="Arial" panose="020B0604020202020204" pitchFamily="34" charset="0"/>
                <a:cs typeface="Arial" panose="020B0604020202020204" pitchFamily="34" charset="0"/>
              </a:rPr>
              <a:t>electricians</a:t>
            </a:r>
            <a:r>
              <a:rPr lang="en-US" sz="1450" dirty="0">
                <a:latin typeface="Arial" panose="020B0604020202020204" pitchFamily="34" charset="0"/>
                <a:cs typeface="Arial" panose="020B0604020202020204" pitchFamily="34" charset="0"/>
              </a:rPr>
              <a:t> are authorized to perform electrical work.</a:t>
            </a:r>
          </a:p>
          <a:p>
            <a:pPr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Know Your Switching Limitations</a:t>
            </a:r>
          </a:p>
          <a:p>
            <a:pPr lvl="1">
              <a:lnSpc>
                <a:spcPct val="100000"/>
              </a:lnSpc>
            </a:pPr>
            <a:r>
              <a:rPr lang="en-US" sz="1450" b="1" dirty="0">
                <a:latin typeface="Arial" panose="020B0604020202020204" pitchFamily="34" charset="0"/>
                <a:cs typeface="Arial" panose="020B0604020202020204" pitchFamily="34" charset="0"/>
              </a:rPr>
              <a:t>0 – 300 Volts</a:t>
            </a:r>
            <a:r>
              <a:rPr lang="en-US" sz="1450" dirty="0">
                <a:latin typeface="Arial" panose="020B0604020202020204" pitchFamily="34" charset="0"/>
                <a:cs typeface="Arial" panose="020B0604020202020204" pitchFamily="34" charset="0"/>
              </a:rPr>
              <a:t>: All employees</a:t>
            </a:r>
          </a:p>
          <a:p>
            <a:pPr lvl="1">
              <a:lnSpc>
                <a:spcPct val="100000"/>
              </a:lnSpc>
            </a:pPr>
            <a:r>
              <a:rPr lang="en-US" sz="1450" b="1" dirty="0">
                <a:latin typeface="Arial" panose="020B0604020202020204" pitchFamily="34" charset="0"/>
                <a:cs typeface="Arial" panose="020B0604020202020204" pitchFamily="34" charset="0"/>
              </a:rPr>
              <a:t>300 – 600 Volts</a:t>
            </a:r>
            <a:r>
              <a:rPr lang="en-US" sz="1450" dirty="0">
                <a:latin typeface="Arial" panose="020B0604020202020204" pitchFamily="34" charset="0"/>
                <a:cs typeface="Arial" panose="020B0604020202020204" pitchFamily="34" charset="0"/>
              </a:rPr>
              <a:t>: "Green Label" trained personnel</a:t>
            </a:r>
          </a:p>
          <a:p>
            <a:pPr lvl="1">
              <a:lnSpc>
                <a:spcPct val="100000"/>
              </a:lnSpc>
            </a:pPr>
            <a:r>
              <a:rPr lang="en-US" sz="1450" b="1" dirty="0">
                <a:latin typeface="Arial" panose="020B0604020202020204" pitchFamily="34" charset="0"/>
                <a:cs typeface="Arial" panose="020B0604020202020204" pitchFamily="34" charset="0"/>
              </a:rPr>
              <a:t>600 Volts or greater</a:t>
            </a:r>
            <a:r>
              <a:rPr lang="en-US" sz="1450" dirty="0">
                <a:latin typeface="Arial" panose="020B0604020202020204" pitchFamily="34" charset="0"/>
                <a:cs typeface="Arial" panose="020B0604020202020204" pitchFamily="34" charset="0"/>
              </a:rPr>
              <a:t>: Qualified electricians only</a:t>
            </a:r>
          </a:p>
          <a:p>
            <a:pPr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De-Energize Electrical Equipment Before Work</a:t>
            </a:r>
          </a:p>
          <a:p>
            <a:pPr lvl="1">
              <a:lnSpc>
                <a:spcPct val="100000"/>
              </a:lnSpc>
            </a:pPr>
            <a:r>
              <a:rPr lang="en-US" sz="1450" dirty="0">
                <a:latin typeface="Arial" panose="020B0604020202020204" pitchFamily="34" charset="0"/>
                <a:cs typeface="Arial" panose="020B0604020202020204" pitchFamily="34" charset="0"/>
              </a:rPr>
              <a:t>Always </a:t>
            </a:r>
            <a:r>
              <a:rPr lang="en-US" sz="1450" b="1" dirty="0">
                <a:latin typeface="Arial" panose="020B0604020202020204" pitchFamily="34" charset="0"/>
                <a:cs typeface="Arial" panose="020B0604020202020204" pitchFamily="34" charset="0"/>
              </a:rPr>
              <a:t>de-energize</a:t>
            </a:r>
            <a:r>
              <a:rPr lang="en-US" sz="1450" dirty="0">
                <a:latin typeface="Arial" panose="020B0604020202020204" pitchFamily="34" charset="0"/>
                <a:cs typeface="Arial" panose="020B0604020202020204" pitchFamily="34" charset="0"/>
              </a:rPr>
              <a:t> electrical equipment before starting any work.</a:t>
            </a:r>
          </a:p>
          <a:p>
            <a:pPr lvl="1"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Lock out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switches of de-energized equipment.</a:t>
            </a:r>
          </a:p>
          <a:p>
            <a:pPr lvl="1"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Label all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breakers and switches properly.</a:t>
            </a:r>
          </a:p>
          <a:p>
            <a:pPr lvl="1"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ssume circuits are liv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until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proven de-energized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Stay Aware of Surroundings</a:t>
            </a:r>
          </a:p>
          <a:p>
            <a:pPr lvl="1">
              <a:lnSpc>
                <a:spcPct val="100000"/>
              </a:lnSpc>
            </a:pPr>
            <a:r>
              <a:rPr lang="en-US" sz="1450" b="1" dirty="0">
                <a:latin typeface="Arial" panose="020B0604020202020204" pitchFamily="34" charset="0"/>
                <a:cs typeface="Arial" panose="020B0604020202020204" pitchFamily="34" charset="0"/>
              </a:rPr>
              <a:t>Look Up and Stay Alive</a:t>
            </a:r>
            <a:r>
              <a:rPr lang="en-US" sz="1450" dirty="0">
                <a:latin typeface="Arial" panose="020B0604020202020204" pitchFamily="34" charset="0"/>
                <a:cs typeface="Arial" panose="020B0604020202020204" pitchFamily="34" charset="0"/>
              </a:rPr>
              <a:t> – Watch for overhead powerlines</a:t>
            </a:r>
          </a:p>
          <a:p>
            <a:pPr lvl="1">
              <a:lnSpc>
                <a:spcPct val="100000"/>
              </a:lnSpc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Call Before You Dig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– Use </a:t>
            </a:r>
            <a:r>
              <a:rPr lang="en-US" sz="1600" dirty="0" err="1">
                <a:latin typeface="Arial" panose="020B0604020202020204" pitchFamily="34" charset="0"/>
                <a:cs typeface="Arial" panose="020B0604020202020204" pitchFamily="34" charset="0"/>
              </a:rPr>
              <a:t>Bluestak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to identify hidden electrical lines</a:t>
            </a:r>
          </a:p>
          <a:p>
            <a:pPr marL="0" indent="0">
              <a:lnSpc>
                <a:spcPct val="100000"/>
              </a:lnSpc>
              <a:buNone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lnSpc>
                <a:spcPct val="100000"/>
              </a:lnSpc>
              <a:buNone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ollowing these guidelines helps ensure a safe working environment for all employees!</a:t>
            </a:r>
          </a:p>
          <a:p>
            <a:pPr marL="0" indent="0">
              <a:buNone/>
            </a:pPr>
            <a:endParaRPr lang="en-US" sz="1600" b="0" i="0" dirty="0"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9197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B0AEAA-48C9-E271-A09D-2FF3AA0492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319" y="436003"/>
            <a:ext cx="7059035" cy="607555"/>
          </a:xfrm>
        </p:spPr>
        <p:txBody>
          <a:bodyPr/>
          <a:lstStyle/>
          <a:p>
            <a:r>
              <a:rPr lang="en-US" dirty="0"/>
              <a:t>Safety Topic –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Respiratory Protection</a:t>
            </a:r>
            <a:endParaRPr 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64475A6E-EA35-4408-CFD6-436A365374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319" y="1226852"/>
            <a:ext cx="8095362" cy="5631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44358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D3E948-A91A-99AB-40C5-D4FFDB8F3AF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33785-48EC-D453-599D-EFE0021A49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319" y="436003"/>
            <a:ext cx="7059035" cy="607555"/>
          </a:xfrm>
        </p:spPr>
        <p:txBody>
          <a:bodyPr/>
          <a:lstStyle/>
          <a:p>
            <a:r>
              <a:rPr lang="en-US" dirty="0"/>
              <a:t>Safety Topic –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Respiratory Protection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0DE69E-4B69-C2DD-43FE-51915707F4DB}"/>
              </a:ext>
            </a:extLst>
          </p:cNvPr>
          <p:cNvSpPr txBox="1"/>
          <p:nvPr/>
        </p:nvSpPr>
        <p:spPr>
          <a:xfrm>
            <a:off x="6306460" y="2959944"/>
            <a:ext cx="272869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enderson Operations Respiratory Protection Program 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FCX-HS33 Metal Fume Control Policy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A8B50DC-1ECD-7E39-B7B9-DDC115AB10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394"/>
          <a:stretch/>
        </p:blipFill>
        <p:spPr bwMode="auto">
          <a:xfrm>
            <a:off x="89277" y="1280160"/>
            <a:ext cx="6217183" cy="5577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91797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F6ACB6-DF78-1220-48B9-8F3BCA1330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913777-AA7B-DAC1-1D95-EC5140238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319" y="436003"/>
            <a:ext cx="6821855" cy="607555"/>
          </a:xfrm>
        </p:spPr>
        <p:txBody>
          <a:bodyPr/>
          <a:lstStyle/>
          <a:p>
            <a:r>
              <a:rPr lang="en-US" dirty="0"/>
              <a:t>Safety Topic –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Alcoholic Energy Drinks/Sodas</a:t>
            </a:r>
            <a:endParaRPr lang="en-US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A0DF3C24-9E28-6ABC-142F-1EAAA61DE2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461" y="1638789"/>
            <a:ext cx="4064514" cy="4464423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Frequently see employee/ contractors use energy drinks to manage long shifts </a:t>
            </a:r>
          </a:p>
          <a:p>
            <a:endParaRPr lang="en-US" dirty="0"/>
          </a:p>
          <a:p>
            <a:r>
              <a:rPr lang="en-US" dirty="0"/>
              <a:t>New products from energy drink and soda manufacturers containing alcohol tough to distinguish at a glance</a:t>
            </a:r>
          </a:p>
          <a:p>
            <a:endParaRPr lang="en-US" dirty="0"/>
          </a:p>
          <a:p>
            <a:r>
              <a:rPr lang="en-US" dirty="0"/>
              <a:t>Stay educated to protect yourself and your crews</a:t>
            </a:r>
          </a:p>
          <a:p>
            <a:endParaRPr lang="en-US" dirty="0"/>
          </a:p>
          <a:p>
            <a:r>
              <a:rPr lang="en-US" dirty="0"/>
              <a:t>Continue to promote healthy lifestyle options to manage Fit for Duty</a:t>
            </a:r>
          </a:p>
        </p:txBody>
      </p:sp>
      <p:pic>
        <p:nvPicPr>
          <p:cNvPr id="13" name="Picture 12" descr="A group of cans of energy drinks&#10;&#10;AI-generated content may be incorrect.">
            <a:extLst>
              <a:ext uri="{FF2B5EF4-FFF2-40B4-BE49-F238E27FC236}">
                <a16:creationId xmlns:a16="http://schemas.microsoft.com/office/drawing/2014/main" id="{89C8AC24-D537-EC9D-8D2F-1461BDC4883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2321"/>
          <a:stretch/>
        </p:blipFill>
        <p:spPr>
          <a:xfrm>
            <a:off x="4572001" y="1385186"/>
            <a:ext cx="3604654" cy="3065795"/>
          </a:xfrm>
          <a:prstGeom prst="rect">
            <a:avLst/>
          </a:prstGeom>
        </p:spPr>
      </p:pic>
      <p:pic>
        <p:nvPicPr>
          <p:cNvPr id="9" name="Picture 8" descr="A group of cans of soda&#10;&#10;AI-generated content may be incorrect.">
            <a:extLst>
              <a:ext uri="{FF2B5EF4-FFF2-40B4-BE49-F238E27FC236}">
                <a16:creationId xmlns:a16="http://schemas.microsoft.com/office/drawing/2014/main" id="{48616DB9-BC2A-CEDC-29A2-2883958ADF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91880" y="4170758"/>
            <a:ext cx="2939824" cy="2604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3576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99CD13-2903-9524-5A8C-E9C24DC510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26B667-5BE8-4D72-9AB9-5EF6A12584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319" y="436003"/>
            <a:ext cx="6821855" cy="607555"/>
          </a:xfrm>
        </p:spPr>
        <p:txBody>
          <a:bodyPr/>
          <a:lstStyle/>
          <a:p>
            <a:r>
              <a:rPr lang="en-US" dirty="0"/>
              <a:t>Environmental Topic – Environmental Management System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AB50D392-4145-D4E7-9C99-797E6127EA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461" y="1638789"/>
            <a:ext cx="3213723" cy="4464423"/>
          </a:xfrm>
        </p:spPr>
        <p:txBody>
          <a:bodyPr/>
          <a:lstStyle/>
          <a:p>
            <a:r>
              <a:rPr lang="en-US" dirty="0"/>
              <a:t>Henderson Mine and Mill have an ISO 14001:2015 certification for our Environmental Management System</a:t>
            </a:r>
          </a:p>
          <a:p>
            <a:endParaRPr lang="en-US" dirty="0"/>
          </a:p>
          <a:p>
            <a:r>
              <a:rPr lang="en-US" dirty="0"/>
              <a:t>Performance evaluations of the Henderson EMS are conducted in several ways:</a:t>
            </a:r>
          </a:p>
          <a:p>
            <a:pPr lvl="1"/>
            <a:r>
              <a:rPr lang="en-US" dirty="0"/>
              <a:t>Environmental monitoring</a:t>
            </a:r>
          </a:p>
          <a:p>
            <a:pPr lvl="1"/>
            <a:r>
              <a:rPr lang="en-US" dirty="0"/>
              <a:t>Annual internal audit</a:t>
            </a:r>
          </a:p>
          <a:p>
            <a:pPr lvl="1"/>
            <a:r>
              <a:rPr lang="en-US" dirty="0"/>
              <a:t>Annual external audit</a:t>
            </a:r>
          </a:p>
          <a:p>
            <a:pPr lvl="1"/>
            <a:endParaRPr lang="en-US" dirty="0"/>
          </a:p>
          <a:p>
            <a:r>
              <a:rPr lang="en-US" dirty="0"/>
              <a:t>2025 Internal Audit conducted this month</a:t>
            </a:r>
          </a:p>
          <a:p>
            <a:pPr lvl="1"/>
            <a:r>
              <a:rPr lang="en-US" dirty="0"/>
              <a:t>0 Non-Conformances!</a:t>
            </a:r>
          </a:p>
          <a:p>
            <a:pPr lvl="1"/>
            <a:r>
              <a:rPr lang="en-US" dirty="0"/>
              <a:t>6 Observations</a:t>
            </a:r>
          </a:p>
          <a:p>
            <a:pPr lvl="1"/>
            <a:r>
              <a:rPr lang="en-US" dirty="0"/>
              <a:t>1 Recommend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CC755B7-B39E-3360-12EE-F94EDB3B46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69851" y="1295102"/>
            <a:ext cx="4120350" cy="427295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021A8C1-787E-6A64-FF08-55EE1799E1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6419" y="5562898"/>
            <a:ext cx="2067213" cy="1143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573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EA1A98-865C-E2CD-EBE5-19060F7225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tential Fatal Events (PFE)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9C1F079-8789-F0DE-8DE4-5FD88EF766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5D2D4BF-04A0-344B-F90E-5881F4502D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978" y="1519518"/>
            <a:ext cx="8562910" cy="479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6479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546DC6-57BA-27A8-83E9-F066FC7602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CF4A9A-8C9D-A4A3-8360-51091B6810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tential Fatal Events (PFE)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BE645E0-2682-60EF-E657-7E288C9719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C4EFBB-DE48-BE11-C287-A4F58D817E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318" y="1519519"/>
            <a:ext cx="8407345" cy="4726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044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THE VALUE OF COPPER 2024">
      <a:dk1>
        <a:srgbClr val="000000"/>
      </a:dk1>
      <a:lt1>
        <a:srgbClr val="FFFFFF"/>
      </a:lt1>
      <a:dk2>
        <a:srgbClr val="8D6E59"/>
      </a:dk2>
      <a:lt2>
        <a:srgbClr val="FDF1DF"/>
      </a:lt2>
      <a:accent1>
        <a:srgbClr val="D34727"/>
      </a:accent1>
      <a:accent2>
        <a:srgbClr val="E18332"/>
      </a:accent2>
      <a:accent3>
        <a:srgbClr val="FFC743"/>
      </a:accent3>
      <a:accent4>
        <a:srgbClr val="8F133C"/>
      </a:accent4>
      <a:accent5>
        <a:srgbClr val="88BA00"/>
      </a:accent5>
      <a:accent6>
        <a:srgbClr val="0088BA"/>
      </a:accent6>
      <a:hlink>
        <a:srgbClr val="27B3D3"/>
      </a:hlink>
      <a:folHlink>
        <a:srgbClr val="8D6E5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3 Freeport Template Widescreen" id="{F1BF0343-AA40-4D0F-81D0-A8C7B0B0C98B}" vid="{C2F6BB4B-5050-4C8E-9AEA-95C7F868BF8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b7e16863-b940-4291-96f8-ad8461baff96" ContentTypeId="0x01010046829DE55437B147B48D1766376E3D6B" PreviousValue="false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FM Document" ma:contentTypeID="0x01010046829DE55437B147B48D1766376E3D6B00B88FBAAEE5C20C4C9D69FB6CE39CD566" ma:contentTypeVersion="6" ma:contentTypeDescription="Document Content Type" ma:contentTypeScope="" ma:versionID="54fdcedd32f92a76818fefc43cd56ac1">
  <xsd:schema xmlns:xsd="http://www.w3.org/2001/XMLSchema" xmlns:xs="http://www.w3.org/2001/XMLSchema" xmlns:p="http://schemas.microsoft.com/office/2006/metadata/properties" xmlns:ns2="b5ba0a33-b247-4d4b-b9ae-c709af684fd3" xmlns:ns3="1c8c09b6-704d-411a-b466-b4564be81472" targetNamespace="http://schemas.microsoft.com/office/2006/metadata/properties" ma:root="true" ma:fieldsID="88fa9e2658bc9e7bdcc35ac4495747b1" ns2:_="" ns3:_="">
    <xsd:import namespace="b5ba0a33-b247-4d4b-b9ae-c709af684fd3"/>
    <xsd:import namespace="1c8c09b6-704d-411a-b466-b4564be81472"/>
    <xsd:element name="properties">
      <xsd:complexType>
        <xsd:sequence>
          <xsd:element name="documentManagement">
            <xsd:complexType>
              <xsd:all>
                <xsd:element ref="ns2:o79fb0eb13274969baa8945b2a62dcda" minOccurs="0"/>
                <xsd:element ref="ns2:TaxCatchAll" minOccurs="0"/>
                <xsd:element ref="ns2:TaxCatchAllLabel" minOccurs="0"/>
                <xsd:element ref="ns2:FM_x0020_Ent_x0020_TaxonomyTaxHTField0" minOccurs="0"/>
                <xsd:element ref="ns2:FM_x0020_Doc_x0020_TypeTaxHTField0" minOccurs="0"/>
                <xsd:element ref="ns2:FM_x0020_DPT" minOccurs="0"/>
                <xsd:element ref="ns2:FM_x0020_LOC" minOccurs="0"/>
                <xsd:element ref="ns3:Si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ba0a33-b247-4d4b-b9ae-c709af684fd3" elementFormDefault="qualified">
    <xsd:import namespace="http://schemas.microsoft.com/office/2006/documentManagement/types"/>
    <xsd:import namespace="http://schemas.microsoft.com/office/infopath/2007/PartnerControls"/>
    <xsd:element name="o79fb0eb13274969baa8945b2a62dcda" ma:index="8" ma:taxonomy="true" ma:internalName="o79fb0eb13274969baa8945b2a62dcda" ma:taxonomyFieldName="FM_x0020_Retention_x0020_Category" ma:displayName="FM Retention Category" ma:readOnly="false" ma:default="3;#Community Relations - General|96e133fb-aecf-4fc7-91a1-5dcc9f35a869" ma:fieldId="{879fb0eb-1327-4969-baa8-945b2a62dcda}" ma:sspId="b7e16863-b940-4291-96f8-ad8461baff96" ma:termSetId="3287f003-fa19-4de9-9d01-e5aef60515f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27ec2217-e374-4c6f-b3e4-ba39a28ba7e3}" ma:internalName="TaxCatchAll" ma:showField="CatchAllData" ma:web="8a0634ce-b61f-46f1-9480-72c1833a650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27ec2217-e374-4c6f-b3e4-ba39a28ba7e3}" ma:internalName="TaxCatchAllLabel" ma:readOnly="true" ma:showField="CatchAllDataLabel" ma:web="8a0634ce-b61f-46f1-9480-72c1833a650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FM_x0020_Ent_x0020_TaxonomyTaxHTField0" ma:index="12" nillable="true" ma:taxonomy="true" ma:internalName="FM_x0020_Ent_x0020_TaxonomyTaxHTField0" ma:taxonomyFieldName="FM_x0020_Ent_x0020_Taxonomy" ma:displayName="FM Business Process" ma:readOnly="false" ma:default="" ma:fieldId="{b40ec4b2-9645-411d-a03c-9e8ab0f1f2d4}" ma:sspId="b7e16863-b940-4291-96f8-ad8461baff96" ma:termSetId="3d1ce9c8-a01a-4b28-93f4-bc23cae590f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FM_x0020_Doc_x0020_TypeTaxHTField0" ma:index="14" nillable="true" ma:taxonomy="true" ma:internalName="FM_x0020_Doc_x0020_TypeTaxHTField0" ma:taxonomyFieldName="FM_x0020_Doc_x0020_Type" ma:displayName="FM Doc Type" ma:readOnly="false" ma:default="" ma:fieldId="{bfb78ee2-975a-4f84-839c-ed91d42d4105}" ma:sspId="b7e16863-b940-4291-96f8-ad8461baff96" ma:termSetId="af82bb66-37d5-47da-967c-ea1eda9481c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FM_x0020_DPT" ma:index="16" nillable="true" ma:displayName="FM DPT" ma:description="This column is used to assign FMI Department" ma:format="Dropdown" ma:hidden="true" ma:internalName="FM_x0020_DPT" ma:readOnly="false">
      <xsd:simpleType>
        <xsd:restriction base="dms:Choice">
          <xsd:enumeration value="Accounts Payable"/>
          <xsd:enumeration value="Administration"/>
          <xsd:enumeration value="Climax Moly Company"/>
          <xsd:enumeration value="Communications"/>
          <xsd:enumeration value="Community / Administrative Services"/>
          <xsd:enumeration value="Community Relations/Social Resp"/>
          <xsd:enumeration value="Corporate Communications"/>
          <xsd:enumeration value="Custom Applications"/>
          <xsd:enumeration value="Environmental / Sustainable Development"/>
          <xsd:enumeration value="Exploration"/>
          <xsd:enumeration value="Exploration / Geology"/>
          <xsd:enumeration value="External Communications"/>
          <xsd:enumeration value="Finance"/>
          <xsd:enumeration value="Finance / Accounting / Tax"/>
          <xsd:enumeration value="Financial Shared Services"/>
          <xsd:enumeration value="FM Africa"/>
          <xsd:enumeration value="FM Americas"/>
          <xsd:enumeration value="FM Mining Company"/>
          <xsd:enumeration value="Global Supply Chain"/>
          <xsd:enumeration value="GSC/ Purchasing/ Warehousing"/>
          <xsd:enumeration value="Health &amp; Safety"/>
          <xsd:enumeration value="Human Resources"/>
          <xsd:enumeration value="Legal / Govt Relations"/>
          <xsd:enumeration value="MIS"/>
          <xsd:enumeration value="Operational Improvement"/>
          <xsd:enumeration value="Operations"/>
          <xsd:enumeration value="Operations Smelting"/>
          <xsd:enumeration value="Ops Maintenance"/>
          <xsd:enumeration value="Sales &amp; Marketing"/>
          <xsd:enumeration value="Security"/>
          <xsd:enumeration value="Senior Management (Corp)"/>
          <xsd:enumeration value="Strategic Planning"/>
        </xsd:restriction>
      </xsd:simpleType>
    </xsd:element>
    <xsd:element name="FM_x0020_LOC" ma:index="17" nillable="true" ma:displayName="FM LOC" ma:description="This column is used to assign Location" ma:format="Dropdown" ma:hidden="true" ma:internalName="FM_x0020_LOC" ma:readOnly="false">
      <xsd:simpleType>
        <xsd:restriction base="dms:Choice">
          <xsd:enumeration value="Administrative &amp; Sales"/>
          <xsd:enumeration value="Africa"/>
          <xsd:enumeration value="Ajo"/>
          <xsd:enumeration value="Arequipa"/>
          <xsd:enumeration value="Asia Pacific"/>
          <xsd:enumeration value="Atlantic Copper (Huelva)"/>
          <xsd:enumeration value="Aurex"/>
          <xsd:enumeration value="Australia/Asia"/>
          <xsd:enumeration value="Bagdad"/>
          <xsd:enumeration value="Bayway"/>
          <xsd:enumeration value="Bisbee"/>
          <xsd:enumeration value="Cairns"/>
          <xsd:enumeration value="Candelaria"/>
          <xsd:enumeration value="Central Analytical Service Center"/>
          <xsd:enumeration value="Cerro Verde"/>
          <xsd:enumeration value="Chino"/>
          <xsd:enumeration value="Climax"/>
          <xsd:enumeration value="Climax Technology Center"/>
          <xsd:enumeration value="Cobre"/>
          <xsd:enumeration value="Colorado Data Center"/>
          <xsd:enumeration value="Cotton Center"/>
          <xsd:enumeration value="Data Center"/>
          <xsd:enumeration value="El Abra"/>
          <xsd:enumeration value="El Paso"/>
          <xsd:enumeration value="El Paso Refinery"/>
          <xsd:enumeration value="El Paso Rod"/>
          <xsd:enumeration value="Europe"/>
          <xsd:enumeration value="FMC"/>
          <xsd:enumeration value="Ft Madison"/>
          <xsd:enumeration value="Global"/>
          <xsd:enumeration value="Henderson"/>
          <xsd:enumeration value="Houston"/>
          <xsd:enumeration value="Huelva"/>
          <xsd:enumeration value="Jakarta"/>
          <xsd:enumeration value="Jerome"/>
          <xsd:enumeration value="Johannesburg"/>
          <xsd:enumeration value="Kinetics"/>
          <xsd:enumeration value="Kisanfu"/>
          <xsd:enumeration value="Kokkola"/>
          <xsd:enumeration value="Lafayette"/>
          <xsd:enumeration value="Lubumbashi"/>
          <xsd:enumeration value="Madrid"/>
          <xsd:enumeration value="Miami"/>
          <xsd:enumeration value="Miami Rod"/>
          <xsd:enumeration value="Miami Smelter"/>
          <xsd:enumeration value="Mine Training Institute"/>
          <xsd:enumeration value="Mining"/>
          <xsd:enumeration value="Morenci"/>
          <xsd:enumeration value="New Mexico"/>
          <xsd:enumeration value="NOLA"/>
          <xsd:enumeration value="North America"/>
          <xsd:enumeration value="Norwich"/>
          <xsd:enumeration value="Oil &amp; Gas"/>
          <xsd:enumeration value="Ojos del Salado"/>
          <xsd:enumeration value="Oro Valley"/>
          <xsd:enumeration value="Phoenix"/>
          <xsd:enumeration value="Processing"/>
          <xsd:enumeration value="PTFI"/>
          <xsd:enumeration value="Research &amp; Development"/>
          <xsd:enumeration value="Rotterdam"/>
          <xsd:enumeration value="Safford"/>
          <xsd:enumeration value="Safford Lab"/>
          <xsd:enumeration value="Safford Mine"/>
          <xsd:enumeration value="Sahuarita"/>
          <xsd:enumeration value="Sanchez"/>
          <xsd:enumeration value="Santiago Data Center"/>
          <xsd:enumeration value="Santiago"/>
          <xsd:enumeration value="Shanghai"/>
          <xsd:enumeration value="Sierrita"/>
          <xsd:enumeration value="Singapore"/>
          <xsd:enumeration value="South America"/>
          <xsd:enumeration value="Stowmarket"/>
          <xsd:enumeration value="Technology Center"/>
          <xsd:enumeration value="Tenke Fungurume"/>
          <xsd:enumeration value="Tohono"/>
          <xsd:enumeration value="Tokyo"/>
          <xsd:enumeration value="Tucson Office"/>
          <xsd:enumeration value="Twin Buttes"/>
          <xsd:enumeration value="Tyron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8c09b6-704d-411a-b466-b4564be81472" elementFormDefault="qualified">
    <xsd:import namespace="http://schemas.microsoft.com/office/2006/documentManagement/types"/>
    <xsd:import namespace="http://schemas.microsoft.com/office/infopath/2007/PartnerControls"/>
    <xsd:element name="Site" ma:index="18" nillable="true" ma:displayName="Site" ma:internalName="Sit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M_x0020_Ent_x0020_TaxonomyTaxHTField0 xmlns="b5ba0a33-b247-4d4b-b9ae-c709af684fd3">
      <Terms xmlns="http://schemas.microsoft.com/office/infopath/2007/PartnerControls">
        <TermInfo xmlns="http://schemas.microsoft.com/office/infopath/2007/PartnerControls">
          <TermName xmlns="http://schemas.microsoft.com/office/infopath/2007/PartnerControls">Internal</TermName>
          <TermId xmlns="http://schemas.microsoft.com/office/infopath/2007/PartnerControls">78012a07-bc17-42a8-9dfa-203d907fea28</TermId>
        </TermInfo>
      </Terms>
    </FM_x0020_Ent_x0020_TaxonomyTaxHTField0>
    <o79fb0eb13274969baa8945b2a62dcda xmlns="b5ba0a33-b247-4d4b-b9ae-c709af684fd3">
      <Terms xmlns="http://schemas.microsoft.com/office/infopath/2007/PartnerControls">
        <TermInfo xmlns="http://schemas.microsoft.com/office/infopath/2007/PartnerControls">
          <TermName xmlns="http://schemas.microsoft.com/office/infopath/2007/PartnerControls">Administration</TermName>
          <TermId xmlns="http://schemas.microsoft.com/office/infopath/2007/PartnerControls">5648ecb6-843d-42d8-8ec5-901cd2d614fb</TermId>
        </TermInfo>
      </Terms>
    </o79fb0eb13274969baa8945b2a62dcda>
    <TaxCatchAll xmlns="b5ba0a33-b247-4d4b-b9ae-c709af684fd3">
      <Value>4</Value>
      <Value>1</Value>
      <Value>7</Value>
    </TaxCatchAll>
    <FM_x0020_Doc_x0020_TypeTaxHTField0 xmlns="b5ba0a33-b247-4d4b-b9ae-c709af684fd3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</TermName>
          <TermId xmlns="http://schemas.microsoft.com/office/infopath/2007/PartnerControls">ab0814dc-ad79-4add-a59b-e4976d8b9098</TermId>
        </TermInfo>
      </Terms>
    </FM_x0020_Doc_x0020_TypeTaxHTField0>
    <FM_x0020_LOC xmlns="b5ba0a33-b247-4d4b-b9ae-c709af684fd3" xsi:nil="true"/>
    <FM_x0020_DPT xmlns="b5ba0a33-b247-4d4b-b9ae-c709af684fd3">Administration</FM_x0020_DPT>
    <Site xmlns="1c8c09b6-704d-411a-b466-b4564be81472">Climax Molybdenum</Site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A6C0FA3-8ED0-4147-86DC-5E490260DA09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175B653F-27A7-4C09-A3A1-CB70A27EFB5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5ba0a33-b247-4d4b-b9ae-c709af684fd3"/>
    <ds:schemaRef ds:uri="1c8c09b6-704d-411a-b466-b4564be8147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6EF08CE-F0D8-4F60-914A-EB8892FBFAD8}">
  <ds:schemaRefs>
    <ds:schemaRef ds:uri="b5ba0a33-b247-4d4b-b9ae-c709af684fd3"/>
    <ds:schemaRef ds:uri="http://purl.org/dc/dcmitype/"/>
    <ds:schemaRef ds:uri="http://www.w3.org/XML/1998/namespace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1c8c09b6-704d-411a-b466-b4564be81472"/>
  </ds:schemaRefs>
</ds:datastoreItem>
</file>

<file path=customXml/itemProps4.xml><?xml version="1.0" encoding="utf-8"?>
<ds:datastoreItem xmlns:ds="http://schemas.openxmlformats.org/officeDocument/2006/customXml" ds:itemID="{59352AF1-5230-4CC1-89FF-1F16987DBC2D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6f8a036-ae1b-4f85-92d3-f4203c03c43b}" enabled="1" method="Standard" siteId="{5f229ce1-773c-46ed-a6fa-974006fae09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482</TotalTime>
  <Words>974</Words>
  <Application>Microsoft Office PowerPoint</Application>
  <PresentationFormat>On-screen Show (4:3)</PresentationFormat>
  <Paragraphs>179</Paragraphs>
  <Slides>2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4" baseType="lpstr">
      <vt:lpstr>-apple-system</vt:lpstr>
      <vt:lpstr>Aptos</vt:lpstr>
      <vt:lpstr>Arial</vt:lpstr>
      <vt:lpstr>Calibri</vt:lpstr>
      <vt:lpstr>Courier New</vt:lpstr>
      <vt:lpstr>Segoe UI</vt:lpstr>
      <vt:lpstr>var(--fontFamilyCustomFont1100, var(--fontFamilyBase))</vt:lpstr>
      <vt:lpstr>1_Office Theme</vt:lpstr>
      <vt:lpstr>think-cell Slide</vt:lpstr>
      <vt:lpstr>PowerPoint Presentation</vt:lpstr>
      <vt:lpstr>What is this Meeting?</vt:lpstr>
      <vt:lpstr>Safety Topic – Electrical Safety</vt:lpstr>
      <vt:lpstr>Safety Topic – Respiratory Protection</vt:lpstr>
      <vt:lpstr>Safety Topic – Respiratory Protection</vt:lpstr>
      <vt:lpstr>Safety Topic – Alcoholic Energy Drinks/Sodas</vt:lpstr>
      <vt:lpstr>Environmental Topic – Environmental Management System</vt:lpstr>
      <vt:lpstr>Potential Fatal Events (PFE)</vt:lpstr>
      <vt:lpstr>Potential Fatal Events (PFE)</vt:lpstr>
      <vt:lpstr>High Risk/Actionable Events</vt:lpstr>
      <vt:lpstr>High Risk/Actionable Events</vt:lpstr>
      <vt:lpstr>High Risk/Actionable Events</vt:lpstr>
      <vt:lpstr>Safety Alerts/Contacts</vt:lpstr>
      <vt:lpstr>Safety Alerts/Contacts</vt:lpstr>
      <vt:lpstr>MSHA Fatality Alerts</vt:lpstr>
      <vt:lpstr>MSHA Fatality Alerts</vt:lpstr>
      <vt:lpstr>Henderson Incidents – 02/10-03/10</vt:lpstr>
      <vt:lpstr>Henderson Incidents – 02/08-03/08</vt:lpstr>
      <vt:lpstr>Henderson FRM Audit Results</vt:lpstr>
      <vt:lpstr>Contractor Management Topic – HSEP </vt:lpstr>
      <vt:lpstr>Contractor Management Topic – Human Rights Impact </vt:lpstr>
      <vt:lpstr>Contractor Management Topic – EWS Access</vt:lpstr>
      <vt:lpstr>2025 Contractor Meeting Schedule</vt:lpstr>
      <vt:lpstr>PowerPoint Presentation</vt:lpstr>
      <vt:lpstr>March Sign-Off Recor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lley, Kathy</dc:creator>
  <cp:lastModifiedBy>Goertz, Benjamin</cp:lastModifiedBy>
  <cp:revision>55</cp:revision>
  <dcterms:created xsi:type="dcterms:W3CDTF">2022-01-20T21:24:06Z</dcterms:created>
  <dcterms:modified xsi:type="dcterms:W3CDTF">2025-03-19T18:35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M Doc Type">
    <vt:lpwstr>1;#Communication|ab0814dc-ad79-4add-a59b-e4976d8b9098</vt:lpwstr>
  </property>
  <property fmtid="{D5CDD505-2E9C-101B-9397-08002B2CF9AE}" pid="3" name="FM Retention Category">
    <vt:lpwstr>4;#Administration|5648ecb6-843d-42d8-8ec5-901cd2d614fb</vt:lpwstr>
  </property>
  <property fmtid="{D5CDD505-2E9C-101B-9397-08002B2CF9AE}" pid="4" name="ContentTypeId">
    <vt:lpwstr>0x01010046829DE55437B147B48D1766376E3D6B00B88FBAAEE5C20C4C9D69FB6CE39CD566</vt:lpwstr>
  </property>
  <property fmtid="{D5CDD505-2E9C-101B-9397-08002B2CF9AE}" pid="5" name="FM Ent Taxonomy">
    <vt:lpwstr>7;#Internal|78012a07-bc17-42a8-9dfa-203d907fea28</vt:lpwstr>
  </property>
  <property fmtid="{D5CDD505-2E9C-101B-9397-08002B2CF9AE}" pid="6" name="MSIP_Label_56f8a036-ae1b-4f85-92d3-f4203c03c43b_Enabled">
    <vt:lpwstr>true</vt:lpwstr>
  </property>
  <property fmtid="{D5CDD505-2E9C-101B-9397-08002B2CF9AE}" pid="7" name="MSIP_Label_56f8a036-ae1b-4f85-92d3-f4203c03c43b_SetDate">
    <vt:lpwstr>2022-05-03T17:30:49Z</vt:lpwstr>
  </property>
  <property fmtid="{D5CDD505-2E9C-101B-9397-08002B2CF9AE}" pid="8" name="MSIP_Label_56f8a036-ae1b-4f85-92d3-f4203c03c43b_Method">
    <vt:lpwstr>Standard</vt:lpwstr>
  </property>
  <property fmtid="{D5CDD505-2E9C-101B-9397-08002B2CF9AE}" pid="9" name="MSIP_Label_56f8a036-ae1b-4f85-92d3-f4203c03c43b_Name">
    <vt:lpwstr>56f8a036-ae1b-4f85-92d3-f4203c03c43b</vt:lpwstr>
  </property>
  <property fmtid="{D5CDD505-2E9C-101B-9397-08002B2CF9AE}" pid="10" name="MSIP_Label_56f8a036-ae1b-4f85-92d3-f4203c03c43b_SiteId">
    <vt:lpwstr>5f229ce1-773c-46ed-a6fa-974006fae097</vt:lpwstr>
  </property>
  <property fmtid="{D5CDD505-2E9C-101B-9397-08002B2CF9AE}" pid="11" name="MSIP_Label_56f8a036-ae1b-4f85-92d3-f4203c03c43b_ActionId">
    <vt:lpwstr>af53359f-22df-434c-a1dd-50aa34f91eb0</vt:lpwstr>
  </property>
  <property fmtid="{D5CDD505-2E9C-101B-9397-08002B2CF9AE}" pid="12" name="MSIP_Label_56f8a036-ae1b-4f85-92d3-f4203c03c43b_ContentBits">
    <vt:lpwstr>0</vt:lpwstr>
  </property>
  <property fmtid="{D5CDD505-2E9C-101B-9397-08002B2CF9AE}" pid="13" name="MediaServiceImageTags">
    <vt:lpwstr/>
  </property>
  <property fmtid="{D5CDD505-2E9C-101B-9397-08002B2CF9AE}" pid="14" name="lcf76f155ced4ddcb4097134ff3c332f">
    <vt:lpwstr/>
  </property>
  <property fmtid="{D5CDD505-2E9C-101B-9397-08002B2CF9AE}" pid="15" name="Order">
    <vt:r8>1994800</vt:r8>
  </property>
  <property fmtid="{D5CDD505-2E9C-101B-9397-08002B2CF9AE}" pid="16" name="SharedWithUsers">
    <vt:lpwstr/>
  </property>
  <property fmtid="{D5CDD505-2E9C-101B-9397-08002B2CF9AE}" pid="17" name="ComplianceAssetId">
    <vt:lpwstr/>
  </property>
  <property fmtid="{D5CDD505-2E9C-101B-9397-08002B2CF9AE}" pid="18" name="_ExtendedDescription">
    <vt:lpwstr/>
  </property>
  <property fmtid="{D5CDD505-2E9C-101B-9397-08002B2CF9AE}" pid="19" name="TriggerFlowInfo">
    <vt:lpwstr/>
  </property>
  <property fmtid="{D5CDD505-2E9C-101B-9397-08002B2CF9AE}" pid="20" name="FM_x0020_Ent_x0020_Taxonomy">
    <vt:lpwstr>7;#Internal|78012a07-bc17-42a8-9dfa-203d907fea28</vt:lpwstr>
  </property>
  <property fmtid="{D5CDD505-2E9C-101B-9397-08002B2CF9AE}" pid="21" name="FM_x0020_Doc_x0020_Type">
    <vt:lpwstr>1;#Communication|ab0814dc-ad79-4add-a59b-e4976d8b9098</vt:lpwstr>
  </property>
  <property fmtid="{D5CDD505-2E9C-101B-9397-08002B2CF9AE}" pid="22" name="FM_x0020_Retention_x0020_Category">
    <vt:lpwstr>4;#Administration|5648ecb6-843d-42d8-8ec5-901cd2d614fb</vt:lpwstr>
  </property>
</Properties>
</file>